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7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 id="2147477606" r:id="rId246"/>
    <p:sldId id="2147477607" r:id="rId247"/>
    <p:sldId id="2147477608" r:id="rId248"/>
    <p:sldId id="2147477609" r:id="rId249"/>
    <p:sldId id="2147477610" r:id="rId250"/>
    <p:sldId id="2147477611" r:id="rId251"/>
    <p:sldId id="2147477612" r:id="rId252"/>
    <p:sldId id="2147477613" r:id="rId253"/>
    <p:sldId id="2147477614" r:id="rId254"/>
    <p:sldId id="2147477615" r:id="rId255"/>
    <p:sldId id="2147477616" r:id="rId256"/>
    <p:sldId id="2147477617" r:id="rId257"/>
    <p:sldId id="2147477618" r:id="rId258"/>
    <p:sldId id="2147477619" r:id="rId259"/>
    <p:sldId id="2147477620" r:id="rId260"/>
    <p:sldId id="2147477621" r:id="rId261"/>
    <p:sldId id="2147477622" r:id="rId262"/>
    <p:sldId id="2147477623" r:id="rId263"/>
    <p:sldId id="2147477624" r:id="rId264"/>
    <p:sldId id="2147477625" r:id="rId265"/>
    <p:sldId id="2147477626" r:id="rId266"/>
    <p:sldId id="2147477627" r:id="rId267"/>
    <p:sldId id="2147477628" r:id="rId268"/>
    <p:sldId id="2147477629" r:id="rId269"/>
    <p:sldId id="2147477630" r:id="rId270"/>
    <p:sldId id="2147477631" r:id="rId271"/>
    <p:sldId id="2147477632" r:id="rId27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D1C16DFD-80C5-47D3-AD25-30FE857426A6}">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Lst>
        </p14:section>
        <p14:section name="Category Price Point Distribution Analysis P12M" id="{0A3D7EC0-8224-4FE3-95C8-0EECC7A8DE8B}">
          <p14:sldIdLst>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Lst>
        </p14:section>
        <p14:section name="Sector Price Point Distribution Analysis P3M" id="{D687B085-8183-4636-9ADA-C4FA51E11160}">
          <p14:sldIdLst>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Lst>
        </p14:section>
        <p14:section name="Sector Price Point Distribution Analysis P12M" id="{3C6F01E6-FA2A-4E27-969C-D001AE76532B}">
          <p14:sldIdLst>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Lst>
        </p14:section>
        <p14:section name="Category Price Point Distribution Analysis P3M ByManuf" id="{716A4771-CBC4-492F-9827-A7F46BAEF31A}">
          <p14:sldIdLst>
            <p14:sldId id="2147477423"/>
            <p14:sldId id="2147477424"/>
            <p14:sldId id="2147477425"/>
            <p14:sldId id="2147477426"/>
            <p14:sldId id="2147477427"/>
          </p14:sldIdLst>
        </p14:section>
        <p14:section name="Category Price Point Distribution Analysis P12M ByManuf" id="{EAC7712D-E88E-418D-8C56-C684F92ACB9D}">
          <p14:sldIdLst>
            <p14:sldId id="2147477428"/>
            <p14:sldId id="2147477429"/>
            <p14:sldId id="2147477430"/>
            <p14:sldId id="2147477431"/>
            <p14:sldId id="2147477432"/>
          </p14:sldIdLst>
        </p14:section>
        <p14:section name="Sector Price Point Distribution Analysis P3M ByManuf" id="{AB91684D-0BDB-4A66-8F3C-63A4CEF02939}">
          <p14:sldIdLst>
            <p14:sldId id="2147477433"/>
            <p14:sldId id="2147477434"/>
            <p14:sldId id="2147477435"/>
            <p14:sldId id="2147477436"/>
            <p14:sldId id="2147477437"/>
          </p14:sldIdLst>
        </p14:section>
        <p14:section name="Sector Price Point Distribution Analysis P12M ByManuf" id="{BD8301F3-98D4-46A0-A607-0E63B2858767}">
          <p14:sldIdLst>
            <p14:sldId id="2147477438"/>
            <p14:sldId id="2147477439"/>
            <p14:sldId id="2147477440"/>
            <p14:sldId id="2147477441"/>
            <p14:sldId id="2147477442"/>
          </p14:sldIdLst>
        </p14:section>
        <p14:section name="Price Point Comparison Analysis by Manuf" id="{70805D13-943A-4B6D-8064-F015E1424589}">
          <p14:sldIdLst>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Lst>
        </p14:section>
        <p14:section name="Price Point Comparison Analysis by Product" id="{4063E603-0A98-4469-8DA1-B323B88D0407}">
          <p14:sldIdLst>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Lst>
        </p14:section>
        <p14:section name="Price Point Distribution Analysis By Brand" id="{9C6A25C1-6607-448E-8D13-B96A1996ACDB}">
          <p14:sldIdLst>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 id="2147477606"/>
            <p14:sldId id="2147477607"/>
            <p14:sldId id="2147477608"/>
            <p14:sldId id="2147477609"/>
            <p14:sldId id="2147477610"/>
            <p14:sldId id="2147477611"/>
            <p14:sldId id="2147477612"/>
            <p14:sldId id="2147477613"/>
            <p14:sldId id="2147477614"/>
            <p14:sldId id="2147477615"/>
            <p14:sldId id="2147477616"/>
            <p14:sldId id="2147477617"/>
            <p14:sldId id="2147477618"/>
            <p14:sldId id="2147477619"/>
            <p14:sldId id="2147477620"/>
            <p14:sldId id="2147477621"/>
            <p14:sldId id="2147477622"/>
          </p14:sldIdLst>
        </p14:section>
        <p14:section name="Price Point Distribution By Brand By Sector" id="{416B9A1A-DBBA-4174-A3C1-283E41849032}">
          <p14:sldIdLst>
            <p14:sldId id="2147477623"/>
            <p14:sldId id="2147477624"/>
            <p14:sldId id="2147477625"/>
            <p14:sldId id="2147477626"/>
            <p14:sldId id="2147477627"/>
          </p14:sldIdLst>
        </p14:section>
        <p14:section name="Price Point Distribution By Brand By Segment" id="{C1500037-C658-4290-8CD7-7A6814DE536F}">
          <p14:sldIdLst>
            <p14:sldId id="2147477628"/>
            <p14:sldId id="2147477629"/>
            <p14:sldId id="2147477630"/>
            <p14:sldId id="2147477631"/>
            <p14:sldId id="214747763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slide" Target="slides/slide242.xml"/><Relationship Id="rId247" Type="http://schemas.openxmlformats.org/officeDocument/2006/relationships/slide" Target="slides/slide243.xml"/><Relationship Id="rId248" Type="http://schemas.openxmlformats.org/officeDocument/2006/relationships/slide" Target="slides/slide244.xml"/><Relationship Id="rId249" Type="http://schemas.openxmlformats.org/officeDocument/2006/relationships/slide" Target="slides/slide245.xml"/><Relationship Id="rId250" Type="http://schemas.openxmlformats.org/officeDocument/2006/relationships/slide" Target="slides/slide246.xml"/><Relationship Id="rId251" Type="http://schemas.openxmlformats.org/officeDocument/2006/relationships/slide" Target="slides/slide247.xml"/><Relationship Id="rId252" Type="http://schemas.openxmlformats.org/officeDocument/2006/relationships/slide" Target="slides/slide248.xml"/><Relationship Id="rId253" Type="http://schemas.openxmlformats.org/officeDocument/2006/relationships/slide" Target="slides/slide249.xml"/><Relationship Id="rId254" Type="http://schemas.openxmlformats.org/officeDocument/2006/relationships/slide" Target="slides/slide250.xml"/><Relationship Id="rId255" Type="http://schemas.openxmlformats.org/officeDocument/2006/relationships/slide" Target="slides/slide251.xml"/><Relationship Id="rId256" Type="http://schemas.openxmlformats.org/officeDocument/2006/relationships/slide" Target="slides/slide252.xml"/><Relationship Id="rId257" Type="http://schemas.openxmlformats.org/officeDocument/2006/relationships/slide" Target="slides/slide253.xml"/><Relationship Id="rId258" Type="http://schemas.openxmlformats.org/officeDocument/2006/relationships/slide" Target="slides/slide254.xml"/><Relationship Id="rId259" Type="http://schemas.openxmlformats.org/officeDocument/2006/relationships/slide" Target="slides/slide255.xml"/><Relationship Id="rId260" Type="http://schemas.openxmlformats.org/officeDocument/2006/relationships/slide" Target="slides/slide256.xml"/><Relationship Id="rId261" Type="http://schemas.openxmlformats.org/officeDocument/2006/relationships/slide" Target="slides/slide257.xml"/><Relationship Id="rId262" Type="http://schemas.openxmlformats.org/officeDocument/2006/relationships/slide" Target="slides/slide258.xml"/><Relationship Id="rId263" Type="http://schemas.openxmlformats.org/officeDocument/2006/relationships/slide" Target="slides/slide259.xml"/><Relationship Id="rId264" Type="http://schemas.openxmlformats.org/officeDocument/2006/relationships/slide" Target="slides/slide260.xml"/><Relationship Id="rId265" Type="http://schemas.openxmlformats.org/officeDocument/2006/relationships/slide" Target="slides/slide261.xml"/><Relationship Id="rId266" Type="http://schemas.openxmlformats.org/officeDocument/2006/relationships/slide" Target="slides/slide262.xml"/><Relationship Id="rId267" Type="http://schemas.openxmlformats.org/officeDocument/2006/relationships/slide" Target="slides/slide263.xml"/><Relationship Id="rId268" Type="http://schemas.openxmlformats.org/officeDocument/2006/relationships/slide" Target="slides/slide264.xml"/><Relationship Id="rId269" Type="http://schemas.openxmlformats.org/officeDocument/2006/relationships/slide" Target="slides/slide265.xml"/><Relationship Id="rId270" Type="http://schemas.openxmlformats.org/officeDocument/2006/relationships/slide" Target="slides/slide266.xml"/><Relationship Id="rId271" Type="http://schemas.openxmlformats.org/officeDocument/2006/relationships/slide" Target="slides/slide267.xml"/><Relationship Id="rId272" Type="http://schemas.openxmlformats.org/officeDocument/2006/relationships/slide" Target="slides/slide268.xml"/><Relationship Id="rId273" Type="http://schemas.openxmlformats.org/officeDocument/2006/relationships/notesMaster" Target="notesMasters/notesMaster1.xml"/><Relationship Id="rId274" Type="http://schemas.openxmlformats.org/officeDocument/2006/relationships/presProps" Target="presProps.xml"/><Relationship Id="rId275" Type="http://schemas.openxmlformats.org/officeDocument/2006/relationships/viewProps" Target="viewProps.xml"/><Relationship Id="rId276" Type="http://schemas.openxmlformats.org/officeDocument/2006/relationships/theme" Target="theme/theme1.xml"/><Relationship Id="rId277" Type="http://schemas.openxmlformats.org/officeDocument/2006/relationships/tableStyles" Target="tableStyles.xml"/><Relationship Id="rId27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dLblPos val="t"/>
              <c:showLegendKey val="0"/>
              <c:showVal val="1"/>
              <c:showCatName val="0"/>
              <c:showSerName val="0"/>
              <c:showPercent val="0"/>
              <c:showBubbleSize val="0"/>
            </c:dLbl>
            <c:dLbl>
              <c:idx val="1"/>
              <c:tx>
                <c:rich>
                  <a:bodyPr/>
                  <a:lstStyle/>
                  <a:p>
                    <a:r>
                      <a:t>301.59</a:t>
                    </a:r>
                  </a:p>
                </c:rich>
              </c:tx>
              <c:dLblPos val="t"/>
              <c:showLegendKey val="0"/>
              <c:showVal val="1"/>
              <c:showCatName val="0"/>
              <c:showSerName val="0"/>
              <c:showPercent val="0"/>
              <c:showBubbleSize val="0"/>
            </c:dLbl>
            <c:dLbl>
              <c:idx val="2"/>
              <c:tx>
                <c:rich>
                  <a:bodyPr/>
                  <a:lstStyle/>
                  <a:p>
                    <a:r>
                      <a:t>305.15</a:t>
                    </a:r>
                  </a:p>
                </c:rich>
              </c:tx>
              <c:dLblPos val="t"/>
              <c:showLegendKey val="0"/>
              <c:showVal val="1"/>
              <c:showCatName val="0"/>
              <c:showSerName val="0"/>
              <c:showPercent val="0"/>
              <c:showBubbleSize val="0"/>
            </c:dLbl>
            <c:dLbl>
              <c:idx val="3"/>
              <c:tx>
                <c:rich>
                  <a:bodyPr/>
                  <a:lstStyle/>
                  <a:p>
                    <a:r>
                      <a:t>325.25</a:t>
                    </a:r>
                  </a:p>
                </c:rich>
              </c:tx>
              <c:dLblPos val="t"/>
              <c:showLegendKey val="0"/>
              <c:showVal val="1"/>
              <c:showCatName val="0"/>
              <c:showSerName val="0"/>
              <c:showPercent val="0"/>
              <c:showBubbleSize val="0"/>
            </c:dLbl>
            <c:dLbl>
              <c:idx val="4"/>
              <c:tx>
                <c:rich>
                  <a:bodyPr/>
                  <a:lstStyle/>
                  <a:p>
                    <a:r>
                      <a:t>311.89</a:t>
                    </a:r>
                  </a:p>
                </c:rich>
              </c:tx>
              <c:dLblPos val="t"/>
              <c:showLegendKey val="0"/>
              <c:showVal val="1"/>
              <c:showCatName val="0"/>
              <c:showSerName val="0"/>
              <c:showPercent val="0"/>
              <c:showBubbleSize val="0"/>
            </c:dLbl>
            <c:dLbl>
              <c:idx val="5"/>
              <c:tx>
                <c:rich>
                  <a:bodyPr/>
                  <a:lstStyle/>
                  <a:p>
                    <a:r>
                      <a:t>188.44</a:t>
                    </a:r>
                  </a:p>
                </c:rich>
              </c:tx>
              <c:dLblPos val="t"/>
              <c:showLegendKey val="0"/>
              <c:showVal val="1"/>
              <c:showCatName val="0"/>
              <c:showSerName val="0"/>
              <c:showPercent val="0"/>
              <c:showBubbleSize val="0"/>
            </c:dLbl>
            <c:dLbl>
              <c:idx val="6"/>
              <c:tx>
                <c:rich>
                  <a:bodyPr/>
                  <a:lstStyle/>
                  <a:p>
                    <a:r>
                      <a:t>101.93</a:t>
                    </a:r>
                  </a:p>
                </c:rich>
              </c:tx>
              <c:dLblPos val="t"/>
              <c:showLegendKey val="0"/>
              <c:showVal val="1"/>
              <c:showCatName val="0"/>
              <c:showSerName val="0"/>
              <c:showPercent val="0"/>
              <c:showBubbleSize val="0"/>
            </c:dLbl>
            <c:dLbl>
              <c:idx val="7"/>
              <c:tx>
                <c:rich>
                  <a:bodyPr/>
                  <a:lstStyle/>
                  <a:p>
                    <a:r>
                      <a:t>297.28</a:t>
                    </a:r>
                  </a:p>
                </c:rich>
              </c:tx>
              <c:dLblPos val="t"/>
              <c:showLegendKey val="0"/>
              <c:showVal val="1"/>
              <c:showCatName val="0"/>
              <c:showSerName val="0"/>
              <c:showPercent val="0"/>
              <c:showBubbleSize val="0"/>
            </c:dLbl>
            <c:dLbl>
              <c:idx val="8"/>
              <c:tx>
                <c:rich>
                  <a:bodyPr/>
                  <a:lstStyle/>
                  <a:p>
                    <a:r>
                      <a:t>295.28</a:t>
                    </a:r>
                  </a:p>
                </c:rich>
              </c:tx>
              <c:dLblPos val="t"/>
              <c:showLegendKey val="0"/>
              <c:showVal val="1"/>
              <c:showCatName val="0"/>
              <c:showSerName val="0"/>
              <c:showPercent val="0"/>
              <c:showBubbleSize val="0"/>
            </c:dLbl>
            <c:dLbl>
              <c:idx val="9"/>
              <c:tx>
                <c:rich>
                  <a:bodyPr/>
                  <a:lstStyle/>
                  <a:p>
                    <a:r>
                      <a:t>86.25</a:t>
                    </a:r>
                  </a:p>
                </c:rich>
              </c:tx>
              <c:dLblPos val="t"/>
              <c:showLegendKey val="0"/>
              <c:showVal val="1"/>
              <c:showCatName val="0"/>
              <c:showSerName val="0"/>
              <c:showPercent val="0"/>
              <c:showBubbleSize val="0"/>
            </c:dLbl>
            <c:dLbl>
              <c:idx val="10"/>
              <c:tx>
                <c:rich>
                  <a:bodyPr/>
                  <a:lstStyle/>
                  <a:p>
                    <a:r>
                      <a:t>309.44</a:t>
                    </a:r>
                  </a:p>
                </c:rich>
              </c:tx>
              <c:dLblPos val="t"/>
              <c:showLegendKey val="0"/>
              <c:showVal val="1"/>
              <c:showCatName val="0"/>
              <c:showSerName val="0"/>
              <c:showPercent val="0"/>
              <c:showBubbleSize val="0"/>
            </c:dLbl>
            <c:dLbl>
              <c:idx val="11"/>
              <c:tx>
                <c:rich>
                  <a:bodyPr/>
                  <a:lstStyle/>
                  <a:p>
                    <a:r>
                      <a:t>292.64</a:t>
                    </a:r>
                  </a:p>
                </c:rich>
              </c:tx>
              <c:dLblPos val="t"/>
              <c:showLegendKey val="0"/>
              <c:showVal val="1"/>
              <c:showCatName val="0"/>
              <c:showSerName val="0"/>
              <c:showPercent val="0"/>
              <c:showBubbleSize val="0"/>
            </c:dLbl>
            <c:dLbl>
              <c:idx val="12"/>
              <c:tx>
                <c:rich>
                  <a:bodyPr/>
                  <a:lstStyle/>
                  <a:p>
                    <a:r>
                      <a:t>189.58</a:t>
                    </a:r>
                  </a:p>
                </c:rich>
              </c:tx>
              <c:dLblPos val="t"/>
              <c:showLegendKey val="0"/>
              <c:showVal val="1"/>
              <c:showCatName val="0"/>
              <c:showSerName val="0"/>
              <c:showPercent val="0"/>
              <c:showBubbleSize val="0"/>
            </c:dLbl>
            <c:dLbl>
              <c:idx val="13"/>
              <c:tx>
                <c:rich>
                  <a:bodyPr/>
                  <a:lstStyle/>
                  <a:p>
                    <a:r>
                      <a:t>283.84</a:t>
                    </a:r>
                  </a:p>
                </c:rich>
              </c:tx>
              <c:dLblPos val="t"/>
              <c:showLegendKey val="0"/>
              <c:showVal val="1"/>
              <c:showCatName val="0"/>
              <c:showSerName val="0"/>
              <c:showPercent val="0"/>
              <c:showBubbleSize val="0"/>
            </c:dLbl>
            <c:dLbl>
              <c:idx val="14"/>
              <c:tx>
                <c:rich>
                  <a:bodyPr/>
                  <a:lstStyle/>
                  <a:p>
                    <a:r>
                      <a:t>18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Ozono Sunscreen Adults Cosmetics Spray Liquido 50+ 180Ml</c:v>
                </c:pt>
                <c:pt idx="5">
                  <c:v>Edgewell Hawaiian Tropic Sheer Touch Sunscreen Adults Cosmetics Crema 50 120Ml</c:v>
                </c:pt>
                <c:pt idx="6">
                  <c:v>Edgewell Hawaiian Tropic Ozono Sunscreen Adults Cosmetics Liquido 50+ 90Ml</c:v>
                </c:pt>
                <c:pt idx="7">
                  <c:v>Edgewell Hawaiian Tropic Silk Hydration Sunscreen Adults Cosmetics Liquido 50 180Ml</c:v>
                </c:pt>
                <c:pt idx="8">
                  <c:v>Edgewell Hawaiian Tropic Sheer Touch Sunscreen Adults Cosmetics Crema 30 - 49 240Ml</c:v>
                </c:pt>
                <c:pt idx="9">
                  <c:v>Edgewell Hawaiian Tropic Island Sport Sunscreen Adults Sport Liquido 50 60Ml</c:v>
                </c:pt>
                <c:pt idx="10">
                  <c:v>Edgewell Hawaiian Tropic Silk Hydration Sunscreen Adults Cosmetics Spray Liquido 50+ 180Ml</c:v>
                </c:pt>
                <c:pt idx="11">
                  <c:v>Edgewell Hawaiian Tropic Tanning Sunscreen Adults Cosmetics Spray Liquido 15 - 19 220Ml</c:v>
                </c:pt>
                <c:pt idx="12">
                  <c:v>Edgewell Hawaiian Tropic Ozono Sunscreen Adults Cosmetics Liquido 50+ 12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02.7</c:v>
                </c:pt>
                <c:pt idx="1">
                  <c:v>301.59</c:v>
                </c:pt>
                <c:pt idx="2">
                  <c:v>305.15</c:v>
                </c:pt>
                <c:pt idx="3">
                  <c:v>325.25</c:v>
                </c:pt>
                <c:pt idx="4">
                  <c:v>311.89</c:v>
                </c:pt>
                <c:pt idx="5">
                  <c:v>188.44</c:v>
                </c:pt>
                <c:pt idx="6">
                  <c:v>101.93</c:v>
                </c:pt>
                <c:pt idx="7">
                  <c:v>297.28</c:v>
                </c:pt>
                <c:pt idx="8">
                  <c:v>295.28</c:v>
                </c:pt>
                <c:pt idx="9">
                  <c:v>86.25</c:v>
                </c:pt>
                <c:pt idx="10">
                  <c:v>309.44</c:v>
                </c:pt>
                <c:pt idx="11">
                  <c:v>292.64</c:v>
                </c:pt>
                <c:pt idx="12">
                  <c:v>189.58</c:v>
                </c:pt>
                <c:pt idx="13">
                  <c:v>283.84</c:v>
                </c:pt>
                <c:pt idx="14">
                  <c:v>18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dLblPos val="t"/>
              <c:showLegendKey val="0"/>
              <c:showVal val="1"/>
              <c:showCatName val="0"/>
              <c:showSerName val="0"/>
              <c:showPercent val="0"/>
              <c:showBubbleSize val="0"/>
            </c:dLbl>
            <c:dLbl>
              <c:idx val="1"/>
              <c:tx>
                <c:rich>
                  <a:bodyPr/>
                  <a:lstStyle/>
                  <a:p>
                    <a:r>
                      <a:t>326.59</a:t>
                    </a:r>
                  </a:p>
                </c:rich>
              </c:tx>
              <c:dLblPos val="t"/>
              <c:showLegendKey val="0"/>
              <c:showVal val="1"/>
              <c:showCatName val="0"/>
              <c:showSerName val="0"/>
              <c:showPercent val="0"/>
              <c:showBubbleSize val="0"/>
            </c:dLbl>
            <c:dLbl>
              <c:idx val="2"/>
              <c:tx>
                <c:rich>
                  <a:bodyPr/>
                  <a:lstStyle/>
                  <a:p>
                    <a:r>
                      <a:t>290.34</a:t>
                    </a:r>
                  </a:p>
                </c:rich>
              </c:tx>
              <c:dLblPos val="t"/>
              <c:showLegendKey val="0"/>
              <c:showVal val="1"/>
              <c:showCatName val="0"/>
              <c:showSerName val="0"/>
              <c:showPercent val="0"/>
              <c:showBubbleSize val="0"/>
            </c:dLbl>
            <c:dLbl>
              <c:idx val="3"/>
              <c:tx>
                <c:rich>
                  <a:bodyPr/>
                  <a:lstStyle/>
                  <a:p>
                    <a:r>
                      <a:t>268.26</a:t>
                    </a:r>
                  </a:p>
                </c:rich>
              </c:tx>
              <c:dLblPos val="t"/>
              <c:showLegendKey val="0"/>
              <c:showVal val="1"/>
              <c:showCatName val="0"/>
              <c:showSerName val="0"/>
              <c:showPercent val="0"/>
              <c:showBubbleSize val="0"/>
            </c:dLbl>
            <c:dLbl>
              <c:idx val="4"/>
              <c:tx>
                <c:rich>
                  <a:bodyPr/>
                  <a:lstStyle/>
                  <a:p>
                    <a:r>
                      <a:t>311.93</a:t>
                    </a:r>
                  </a:p>
                </c:rich>
              </c:tx>
              <c:dLblPos val="t"/>
              <c:showLegendKey val="0"/>
              <c:showVal val="1"/>
              <c:showCatName val="0"/>
              <c:showSerName val="0"/>
              <c:showPercent val="0"/>
              <c:showBubbleSize val="0"/>
            </c:dLbl>
            <c:dLbl>
              <c:idx val="5"/>
              <c:tx>
                <c:rich>
                  <a:bodyPr/>
                  <a:lstStyle/>
                  <a:p>
                    <a:r>
                      <a:t>298.88</a:t>
                    </a:r>
                  </a:p>
                </c:rich>
              </c:tx>
              <c:dLblPos val="t"/>
              <c:showLegendKey val="0"/>
              <c:showVal val="1"/>
              <c:showCatName val="0"/>
              <c:showSerName val="0"/>
              <c:showPercent val="0"/>
              <c:showBubbleSize val="0"/>
            </c:dLbl>
            <c:dLbl>
              <c:idx val="6"/>
              <c:tx>
                <c:rich>
                  <a:bodyPr/>
                  <a:lstStyle/>
                  <a:p>
                    <a:r>
                      <a:t>312.87</a:t>
                    </a:r>
                  </a:p>
                </c:rich>
              </c:tx>
              <c:dLblPos val="t"/>
              <c:showLegendKey val="0"/>
              <c:showVal val="1"/>
              <c:showCatName val="0"/>
              <c:showSerName val="0"/>
              <c:showPercent val="0"/>
              <c:showBubbleSize val="0"/>
            </c:dLbl>
            <c:dLbl>
              <c:idx val="7"/>
              <c:tx>
                <c:rich>
                  <a:bodyPr/>
                  <a:lstStyle/>
                  <a:p>
                    <a:r>
                      <a:t>85.64</a:t>
                    </a:r>
                  </a:p>
                </c:rich>
              </c:tx>
              <c:dLblPos val="t"/>
              <c:showLegendKey val="0"/>
              <c:showVal val="1"/>
              <c:showCatName val="0"/>
              <c:showSerName val="0"/>
              <c:showPercent val="0"/>
              <c:showBubbleSize val="0"/>
            </c:dLbl>
            <c:dLbl>
              <c:idx val="8"/>
              <c:tx>
                <c:rich>
                  <a:bodyPr/>
                  <a:lstStyle/>
                  <a:p>
                    <a:r>
                      <a:t>254.2</a:t>
                    </a:r>
                  </a:p>
                </c:rich>
              </c:tx>
              <c:dLblPos val="t"/>
              <c:showLegendKey val="0"/>
              <c:showVal val="1"/>
              <c:showCatName val="0"/>
              <c:showSerName val="0"/>
              <c:showPercent val="0"/>
              <c:showBubbleSize val="0"/>
            </c:dLbl>
            <c:dLbl>
              <c:idx val="9"/>
              <c:tx>
                <c:rich>
                  <a:bodyPr/>
                  <a:lstStyle/>
                  <a:p>
                    <a:r>
                      <a:t>317.01</a:t>
                    </a:r>
                  </a:p>
                </c:rich>
              </c:tx>
              <c:dLblPos val="t"/>
              <c:showLegendKey val="0"/>
              <c:showVal val="1"/>
              <c:showCatName val="0"/>
              <c:showSerName val="0"/>
              <c:showPercent val="0"/>
              <c:showBubbleSize val="0"/>
            </c:dLbl>
            <c:dLbl>
              <c:idx val="10"/>
              <c:tx>
                <c:rich>
                  <a:bodyPr/>
                  <a:lstStyle/>
                  <a:p>
                    <a:r>
                      <a:t>296.2</a:t>
                    </a:r>
                  </a:p>
                </c:rich>
              </c:tx>
              <c:dLblPos val="t"/>
              <c:showLegendKey val="0"/>
              <c:showVal val="1"/>
              <c:showCatName val="0"/>
              <c:showSerName val="0"/>
              <c:showPercent val="0"/>
              <c:showBubbleSize val="0"/>
            </c:dLbl>
            <c:dLbl>
              <c:idx val="11"/>
              <c:tx>
                <c:rich>
                  <a:bodyPr/>
                  <a:lstStyle/>
                  <a:p>
                    <a:r>
                      <a:t>316.77</a:t>
                    </a:r>
                  </a:p>
                </c:rich>
              </c:tx>
              <c:dLblPos val="t"/>
              <c:showLegendKey val="0"/>
              <c:showVal val="1"/>
              <c:showCatName val="0"/>
              <c:showSerName val="0"/>
              <c:showPercent val="0"/>
              <c:showBubbleSize val="0"/>
            </c:dLbl>
            <c:dLbl>
              <c:idx val="12"/>
              <c:tx>
                <c:rich>
                  <a:bodyPr/>
                  <a:lstStyle/>
                  <a:p>
                    <a:r>
                      <a:t>261.01</a:t>
                    </a:r>
                  </a:p>
                </c:rich>
              </c:tx>
              <c:dLblPos val="t"/>
              <c:showLegendKey val="0"/>
              <c:showVal val="1"/>
              <c:showCatName val="0"/>
              <c:showSerName val="0"/>
              <c:showPercent val="0"/>
              <c:showBubbleSize val="0"/>
            </c:dLbl>
            <c:dLbl>
              <c:idx val="13"/>
              <c:tx>
                <c:rich>
                  <a:bodyPr/>
                  <a:lstStyle/>
                  <a:p>
                    <a:r>
                      <a:t>318.71</a:t>
                    </a:r>
                  </a:p>
                </c:rich>
              </c:tx>
              <c:dLblPos val="t"/>
              <c:showLegendKey val="0"/>
              <c:showVal val="1"/>
              <c:showCatName val="0"/>
              <c:showSerName val="0"/>
              <c:showPercent val="0"/>
              <c:showBubbleSize val="0"/>
            </c:dLbl>
            <c:dLbl>
              <c:idx val="14"/>
              <c:tx>
                <c:rich>
                  <a:bodyPr/>
                  <a:lstStyle/>
                  <a:p>
                    <a:r>
                      <a:t>132.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Edgewell Banana Boat Advanced Protection Sunscreen Adults Cosmetics Liquido 50+ 240Ml</c:v>
                </c:pt>
                <c:pt idx="6">
                  <c:v>Edgewell Banana Boat Aqua Protect Sunscreen Adults Cosmetics Spray Liquido 50+ 170Ml</c:v>
                </c:pt>
                <c:pt idx="7">
                  <c:v>Edgewell Banana Boat Advanced Protection Sunscreen Adults Cosmetics Liquido 50+ 60Ml</c:v>
                </c:pt>
                <c:pt idx="8">
                  <c:v>Edgewell Banana Boat Advanced Protection Sunscreen Adults Cosmetics Liquido 50 180Ml</c:v>
                </c:pt>
                <c:pt idx="9">
                  <c:v>Edgewell Banana Boat Mineral Sunscreen Adults Cosmetics Locion 50 180Ml</c:v>
                </c:pt>
                <c:pt idx="10">
                  <c:v>Edgewell Banana Boat Dry Balance Sunscreen Adults Sport Crema 50+ 180Ml</c:v>
                </c:pt>
                <c:pt idx="11">
                  <c:v>Edgewell Banana Boat Mineral Sunscreen Kids Cosmetics Locion 50 180Ml</c:v>
                </c:pt>
                <c:pt idx="12">
                  <c:v>Edgewell Banana Boat Kids Sport Sunscreen Kids Cosmetics Crema 50 180Ml</c:v>
                </c:pt>
                <c:pt idx="13">
                  <c:v>Edgewell Banana Boat Mineral Sunscreen Adults Sport Locion 50 180Ml</c:v>
                </c:pt>
                <c:pt idx="14">
                  <c:v>Edgewell Banana Boat After Sun After Sun Adults Cosmetics Gel 0 - 5 230Ml</c:v>
                </c:pt>
              </c:strCache>
            </c:strRef>
          </c:cat>
          <c:val>
            <c:numRef>
              <c:f>Sheet1!$B$2:$B$16</c:f>
              <c:numCache>
                <c:formatCode>General</c:formatCode>
                <c:ptCount val="15"/>
                <c:pt idx="0">
                  <c:v>281.61</c:v>
                </c:pt>
                <c:pt idx="1">
                  <c:v>326.59</c:v>
                </c:pt>
                <c:pt idx="2">
                  <c:v>290.34</c:v>
                </c:pt>
                <c:pt idx="3">
                  <c:v>268.26</c:v>
                </c:pt>
                <c:pt idx="4">
                  <c:v>311.93</c:v>
                </c:pt>
                <c:pt idx="5">
                  <c:v>298.88</c:v>
                </c:pt>
                <c:pt idx="6">
                  <c:v>312.87</c:v>
                </c:pt>
                <c:pt idx="7">
                  <c:v>85.64</c:v>
                </c:pt>
                <c:pt idx="8">
                  <c:v>254.2</c:v>
                </c:pt>
                <c:pt idx="9">
                  <c:v>317.01</c:v>
                </c:pt>
                <c:pt idx="10">
                  <c:v>296.2</c:v>
                </c:pt>
                <c:pt idx="11">
                  <c:v>316.77</c:v>
                </c:pt>
                <c:pt idx="12">
                  <c:v>261.01</c:v>
                </c:pt>
                <c:pt idx="13">
                  <c:v>318.71</c:v>
                </c:pt>
                <c:pt idx="14">
                  <c:v>13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84</a:t>
                    </a:r>
                  </a:p>
                </c:rich>
              </c:tx>
              <c:showLegendKey val="0"/>
              <c:showVal val="1"/>
              <c:showCatName val="0"/>
              <c:showSerName val="0"/>
              <c:showPercent val="0"/>
              <c:showBubbleSize val="0"/>
            </c:dLbl>
            <c:dLbl>
              <c:idx val="1"/>
              <c:tx>
                <c:rich>
                  <a:bodyPr/>
                  <a:lstStyle/>
                  <a:p>
                    <a:r>
                      <a:t>308.69</a:t>
                    </a:r>
                  </a:p>
                </c:rich>
              </c:tx>
              <c:showLegendKey val="0"/>
              <c:showVal val="1"/>
              <c:showCatName val="0"/>
              <c:showSerName val="0"/>
              <c:showPercent val="0"/>
              <c:showBubbleSize val="0"/>
            </c:dLbl>
            <c:dLbl>
              <c:idx val="2"/>
              <c:tx>
                <c:rich>
                  <a:bodyPr/>
                  <a:lstStyle/>
                  <a:p>
                    <a:r>
                      <a:t>316.05</a:t>
                    </a:r>
                  </a:p>
                </c:rich>
              </c:tx>
              <c:showLegendKey val="0"/>
              <c:showVal val="1"/>
              <c:showCatName val="0"/>
              <c:showSerName val="0"/>
              <c:showPercent val="0"/>
              <c:showBubbleSize val="0"/>
            </c:dLbl>
            <c:dLbl>
              <c:idx val="3"/>
              <c:tx>
                <c:rich>
                  <a:bodyPr/>
                  <a:lstStyle/>
                  <a:p>
                    <a:r>
                      <a:t>334.03</a:t>
                    </a:r>
                  </a:p>
                </c:rich>
              </c:tx>
              <c:showLegendKey val="0"/>
              <c:showVal val="1"/>
              <c:showCatName val="0"/>
              <c:showSerName val="0"/>
              <c:showPercent val="0"/>
              <c:showBubbleSize val="0"/>
            </c:dLbl>
            <c:dLbl>
              <c:idx val="4"/>
              <c:tx>
                <c:rich>
                  <a:bodyPr/>
                  <a:lstStyle/>
                  <a:p>
                    <a:r>
                      <a:t>310.2</a:t>
                    </a:r>
                  </a:p>
                </c:rich>
              </c:tx>
              <c:showLegendKey val="0"/>
              <c:showVal val="1"/>
              <c:showCatName val="0"/>
              <c:showSerName val="0"/>
              <c:showPercent val="0"/>
              <c:showBubbleSize val="0"/>
            </c:dLbl>
            <c:dLbl>
              <c:idx val="5"/>
              <c:tx>
                <c:rich>
                  <a:bodyPr/>
                  <a:lstStyle/>
                  <a:p>
                    <a:r>
                      <a:t>312.72</a:t>
                    </a:r>
                  </a:p>
                </c:rich>
              </c:tx>
              <c:showLegendKey val="0"/>
              <c:showVal val="1"/>
              <c:showCatName val="0"/>
              <c:showSerName val="0"/>
              <c:showPercent val="0"/>
              <c:showBubbleSize val="0"/>
            </c:dLbl>
            <c:dLbl>
              <c:idx val="6"/>
              <c:tx>
                <c:rich>
                  <a:bodyPr/>
                  <a:lstStyle/>
                  <a:p>
                    <a:r>
                      <a:t>186.09</a:t>
                    </a:r>
                  </a:p>
                </c:rich>
              </c:tx>
              <c:showLegendKey val="0"/>
              <c:showVal val="1"/>
              <c:showCatName val="0"/>
              <c:showSerName val="0"/>
              <c:showPercent val="0"/>
              <c:showBubbleSize val="0"/>
            </c:dLbl>
            <c:dLbl>
              <c:idx val="7"/>
              <c:tx>
                <c:rich>
                  <a:bodyPr/>
                  <a:lstStyle/>
                  <a:p>
                    <a:r>
                      <a:t>340.1</a:t>
                    </a:r>
                  </a:p>
                </c:rich>
              </c:tx>
              <c:showLegendKey val="0"/>
              <c:showVal val="1"/>
              <c:showCatName val="0"/>
              <c:showSerName val="0"/>
              <c:showPercent val="0"/>
              <c:showBubbleSize val="0"/>
            </c:dLbl>
            <c:dLbl>
              <c:idx val="8"/>
              <c:tx>
                <c:rich>
                  <a:bodyPr/>
                  <a:lstStyle/>
                  <a:p>
                    <a:r>
                      <a:t>298.77</a:t>
                    </a:r>
                  </a:p>
                </c:rich>
              </c:tx>
              <c:showLegendKey val="0"/>
              <c:showVal val="1"/>
              <c:showCatName val="0"/>
              <c:showSerName val="0"/>
              <c:showPercent val="0"/>
              <c:showBubbleSize val="0"/>
            </c:dLbl>
            <c:dLbl>
              <c:idx val="9"/>
              <c:tx>
                <c:rich>
                  <a:bodyPr/>
                  <a:lstStyle/>
                  <a:p>
                    <a:r>
                      <a:t>405.17</a:t>
                    </a:r>
                  </a:p>
                </c:rich>
              </c:tx>
              <c:showLegendKey val="0"/>
              <c:showVal val="1"/>
              <c:showCatName val="0"/>
              <c:showSerName val="0"/>
              <c:showPercent val="0"/>
              <c:showBubbleSize val="0"/>
            </c:dLbl>
            <c:dLbl>
              <c:idx val="10"/>
              <c:tx>
                <c:rich>
                  <a:bodyPr/>
                  <a:lstStyle/>
                  <a:p>
                    <a:r>
                      <a:t>1206.0</a:t>
                    </a:r>
                  </a:p>
                </c:rich>
              </c:tx>
              <c:showLegendKey val="0"/>
              <c:showVal val="1"/>
              <c:showCatName val="0"/>
              <c:showSerName val="0"/>
              <c:showPercent val="0"/>
              <c:showBubbleSize val="0"/>
            </c:dLbl>
            <c:dLbl>
              <c:idx val="11"/>
              <c:tx>
                <c:rich>
                  <a:bodyPr/>
                  <a:lstStyle/>
                  <a:p>
                    <a:r>
                      <a:t>676.58</a:t>
                    </a:r>
                  </a:p>
                </c:rich>
              </c:tx>
              <c:showLegendKey val="0"/>
              <c:showVal val="1"/>
              <c:showCatName val="0"/>
              <c:showSerName val="0"/>
              <c:showPercent val="0"/>
              <c:showBubbleSize val="0"/>
            </c:dLbl>
            <c:dLbl>
              <c:idx val="12"/>
              <c:tx>
                <c:rich>
                  <a:bodyPr/>
                  <a:lstStyle/>
                  <a:p>
                    <a:r>
                      <a:t>614.99</a:t>
                    </a:r>
                  </a:p>
                </c:rich>
              </c:tx>
              <c:showLegendKey val="0"/>
              <c:showVal val="1"/>
              <c:showCatName val="0"/>
              <c:showSerName val="0"/>
              <c:showPercent val="0"/>
              <c:showBubbleSize val="0"/>
            </c:dLbl>
            <c:dLbl>
              <c:idx val="13"/>
              <c:tx>
                <c:rich>
                  <a:bodyPr/>
                  <a:lstStyle/>
                  <a:p>
                    <a:r>
                      <a:t>289.05</a:t>
                    </a:r>
                  </a:p>
                </c:rich>
              </c:tx>
              <c:showLegendKey val="0"/>
              <c:showVal val="1"/>
              <c:showCatName val="0"/>
              <c:showSerName val="0"/>
              <c:showPercent val="0"/>
              <c:showBubbleSize val="0"/>
            </c:dLbl>
            <c:dLbl>
              <c:idx val="14"/>
              <c:tx>
                <c:rich>
                  <a:bodyPr/>
                  <a:lstStyle/>
                  <a:p>
                    <a:r>
                      <a:t>59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Dry Balance Sunscreen Adults Sport Spray Liquido 50 220Ml</c:v>
                </c:pt>
                <c:pt idx="3">
                  <c:v>Edgewell Hawaiian Tropic Island Sport Sunscreen Adults Sport Spray Liquido 50 220Ml</c:v>
                </c:pt>
                <c:pt idx="4">
                  <c:v>Edgewell Banana Boat Advanced Protection Sunscreen Adults Cosmetics Liquido 50+ 240Ml</c:v>
                </c:pt>
                <c:pt idx="5">
                  <c:v>Beiersdorf Nivea Sunscreen Adults Cosmetics Liquido 50 200Ml</c:v>
                </c:pt>
                <c:pt idx="6">
                  <c:v>Beiersdorf Nivea Sunscreen Adults Cosmetics Liquido 50+ 125Ml</c:v>
                </c:pt>
                <c:pt idx="7">
                  <c:v>Beiersdorf Nivea Sunscreen Adults Cosmetics Spray Liquido 50 200Ml</c:v>
                </c:pt>
                <c:pt idx="8">
                  <c:v>Beiersdorf Nivea Sunscreen Kids Cosmetics Liquido 50+ 200Ml</c:v>
                </c:pt>
                <c:pt idx="9">
                  <c:v>Beiersdorf Nivea Sunscreen Kids Cosmetics Spray Liquido 50+ 200Ml</c:v>
                </c:pt>
                <c:pt idx="10">
                  <c:v>Others Fabricante Unif. Others Marca Unif. Sunscreen Adults Cosmetics Liquido 30 - 49 50Ml</c:v>
                </c:pt>
                <c:pt idx="11">
                  <c:v>Others Fabricante Unif. Others Marca Unif. Sunscreen Adults Derma Spray Liquido 50+ 120Ml</c:v>
                </c:pt>
                <c:pt idx="12">
                  <c:v>Others Fabricante Unif. Others Marca Unif. Sunscreen Adults Derma Liquido 50+ 50Ml</c:v>
                </c:pt>
                <c:pt idx="13">
                  <c:v>Others Fabricante Unif. Others Marca Unif. Sunscreen Adults Cosmetics Spray Liquido 50 200Ml</c:v>
                </c:pt>
                <c:pt idx="14">
                  <c:v>Others Fabricante Unif. Others Marca Unif. Sunscreen Adults Derma Spray Liquido 50+ 200Ml</c:v>
                </c:pt>
              </c:strCache>
            </c:strRef>
          </c:cat>
          <c:val>
            <c:numRef>
              <c:f>Sheet1!$B$2:$B$16</c:f>
              <c:numCache>
                <c:formatCode>General</c:formatCode>
                <c:ptCount val="15"/>
                <c:pt idx="0">
                  <c:v>306.84</c:v>
                </c:pt>
                <c:pt idx="1">
                  <c:v>308.69</c:v>
                </c:pt>
                <c:pt idx="2">
                  <c:v>316.05</c:v>
                </c:pt>
                <c:pt idx="3">
                  <c:v>334.03</c:v>
                </c:pt>
                <c:pt idx="4">
                  <c:v>310.2</c:v>
                </c:pt>
                <c:pt idx="5">
                  <c:v>312.72</c:v>
                </c:pt>
                <c:pt idx="6">
                  <c:v>186.09</c:v>
                </c:pt>
                <c:pt idx="7">
                  <c:v>340.1</c:v>
                </c:pt>
                <c:pt idx="8">
                  <c:v>298.77</c:v>
                </c:pt>
                <c:pt idx="9">
                  <c:v>405.17</c:v>
                </c:pt>
                <c:pt idx="10">
                  <c:v>1206.0</c:v>
                </c:pt>
                <c:pt idx="11">
                  <c:v>676.58</c:v>
                </c:pt>
                <c:pt idx="12">
                  <c:v>614.99</c:v>
                </c:pt>
                <c:pt idx="13">
                  <c:v>289.05</c:v>
                </c:pt>
                <c:pt idx="14">
                  <c:v>59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8.04</a:t>
                    </a:r>
                  </a:p>
                </c:rich>
              </c:tx>
              <c:showLegendKey val="0"/>
              <c:showVal val="1"/>
              <c:showCatName val="0"/>
              <c:showSerName val="0"/>
              <c:showPercent val="0"/>
              <c:showBubbleSize val="0"/>
            </c:dLbl>
            <c:dLbl>
              <c:idx val="1"/>
              <c:tx>
                <c:rich>
                  <a:bodyPr/>
                  <a:lstStyle/>
                  <a:p>
                    <a:r>
                      <a:t>269.13</a:t>
                    </a:r>
                  </a:p>
                </c:rich>
              </c:tx>
              <c:showLegendKey val="0"/>
              <c:showVal val="1"/>
              <c:showCatName val="0"/>
              <c:showSerName val="0"/>
              <c:showPercent val="0"/>
              <c:showBubbleSize val="0"/>
            </c:dLbl>
            <c:dLbl>
              <c:idx val="2"/>
              <c:tx>
                <c:rich>
                  <a:bodyPr/>
                  <a:lstStyle/>
                  <a:p>
                    <a:r>
                      <a:t>337.05</a:t>
                    </a:r>
                  </a:p>
                </c:rich>
              </c:tx>
              <c:showLegendKey val="0"/>
              <c:showVal val="1"/>
              <c:showCatName val="0"/>
              <c:showSerName val="0"/>
              <c:showPercent val="0"/>
              <c:showBubbleSize val="0"/>
            </c:dLbl>
            <c:dLbl>
              <c:idx val="3"/>
              <c:tx>
                <c:rich>
                  <a:bodyPr/>
                  <a:lstStyle/>
                  <a:p>
                    <a:r>
                      <a:t>330.28</a:t>
                    </a:r>
                  </a:p>
                </c:rich>
              </c:tx>
              <c:showLegendKey val="0"/>
              <c:showVal val="1"/>
              <c:showCatName val="0"/>
              <c:showSerName val="0"/>
              <c:showPercent val="0"/>
              <c:showBubbleSize val="0"/>
            </c:dLbl>
            <c:dLbl>
              <c:idx val="4"/>
              <c:tx>
                <c:rich>
                  <a:bodyPr/>
                  <a:lstStyle/>
                  <a:p>
                    <a:r>
                      <a:t>333.98</a:t>
                    </a:r>
                  </a:p>
                </c:rich>
              </c:tx>
              <c:showLegendKey val="0"/>
              <c:showVal val="1"/>
              <c:showCatName val="0"/>
              <c:showSerName val="0"/>
              <c:showPercent val="0"/>
              <c:showBubbleSize val="0"/>
            </c:dLbl>
            <c:dLbl>
              <c:idx val="5"/>
              <c:tx>
                <c:rich>
                  <a:bodyPr/>
                  <a:lstStyle/>
                  <a:p>
                    <a:r>
                      <a:t>304.3</a:t>
                    </a:r>
                  </a:p>
                </c:rich>
              </c:tx>
              <c:showLegendKey val="0"/>
              <c:showVal val="1"/>
              <c:showCatName val="0"/>
              <c:showSerName val="0"/>
              <c:showPercent val="0"/>
              <c:showBubbleSize val="0"/>
            </c:dLbl>
            <c:dLbl>
              <c:idx val="6"/>
              <c:tx>
                <c:rich>
                  <a:bodyPr/>
                  <a:lstStyle/>
                  <a:p>
                    <a:r>
                      <a:t>297.22</a:t>
                    </a:r>
                  </a:p>
                </c:rich>
              </c:tx>
              <c:showLegendKey val="0"/>
              <c:showVal val="1"/>
              <c:showCatName val="0"/>
              <c:showSerName val="0"/>
              <c:showPercent val="0"/>
              <c:showBubbleSize val="0"/>
            </c:dLbl>
            <c:dLbl>
              <c:idx val="7"/>
              <c:tx>
                <c:rich>
                  <a:bodyPr/>
                  <a:lstStyle/>
                  <a:p>
                    <a:r>
                      <a:t>757.68</a:t>
                    </a:r>
                  </a:p>
                </c:rich>
              </c:tx>
              <c:showLegendKey val="0"/>
              <c:showVal val="1"/>
              <c:showCatName val="0"/>
              <c:showSerName val="0"/>
              <c:showPercent val="0"/>
              <c:showBubbleSize val="0"/>
            </c:dLbl>
            <c:dLbl>
              <c:idx val="8"/>
              <c:tx>
                <c:rich>
                  <a:bodyPr/>
                  <a:lstStyle/>
                  <a:p>
                    <a:r>
                      <a:t>687.56</a:t>
                    </a:r>
                  </a:p>
                </c:rich>
              </c:tx>
              <c:showLegendKey val="0"/>
              <c:showVal val="1"/>
              <c:showCatName val="0"/>
              <c:showSerName val="0"/>
              <c:showPercent val="0"/>
              <c:showBubbleSize val="0"/>
            </c:dLbl>
            <c:dLbl>
              <c:idx val="9"/>
              <c:tx>
                <c:rich>
                  <a:bodyPr/>
                  <a:lstStyle/>
                  <a:p>
                    <a:r>
                      <a:t>621.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170Ml</c:v>
                </c:pt>
                <c:pt idx="1">
                  <c:v>Edgewell Banana Boat Banded Pack Banded Pack 2X Sunscreen Multi 50+ 236Ml</c:v>
                </c:pt>
                <c:pt idx="2">
                  <c:v>Edgewell Banana Boat Mineral Sunscreen Kids Cosmetics Locion 50 180Ml</c:v>
                </c:pt>
                <c:pt idx="3">
                  <c:v>Edgewell Banana Boat Mineral Sunscreen Adults Cosmetics Locion 50 180Ml</c:v>
                </c:pt>
                <c:pt idx="4">
                  <c:v>Edgewell Banana Boat Mineral Sunscreen Adults Sport Locion 50 180Ml</c:v>
                </c:pt>
                <c:pt idx="5">
                  <c:v>Glaxosmithkline Eclipsol Sunscreen Adults Derma Locion 50+ 60Ml</c:v>
                </c:pt>
                <c:pt idx="6">
                  <c:v>Glaxosmithkline Eclipsol Sunscreen Kids Derma Locion 50+ 60Ml</c:v>
                </c:pt>
                <c:pt idx="7">
                  <c:v>Glaxosmithkline Eclipsol Sunscreen Adults Derma Locion 50+ 125Ml</c:v>
                </c:pt>
                <c:pt idx="8">
                  <c:v>Isdin Isdin Sunscreen Baby Derma Spray Locion 50+ 250Ml</c:v>
                </c:pt>
                <c:pt idx="9">
                  <c:v>Isdin Isdin Sunscreen Adults Derma Locion 50+ 200Ml</c:v>
                </c:pt>
              </c:strCache>
            </c:strRef>
          </c:cat>
          <c:val>
            <c:numRef>
              <c:f>Sheet1!$B$2:$B$11</c:f>
              <c:numCache>
                <c:formatCode>General</c:formatCode>
                <c:ptCount val="10"/>
                <c:pt idx="0">
                  <c:v>338.04</c:v>
                </c:pt>
                <c:pt idx="1">
                  <c:v>269.13</c:v>
                </c:pt>
                <c:pt idx="2">
                  <c:v>337.05</c:v>
                </c:pt>
                <c:pt idx="3">
                  <c:v>330.28</c:v>
                </c:pt>
                <c:pt idx="4">
                  <c:v>333.98</c:v>
                </c:pt>
                <c:pt idx="5">
                  <c:v>304.3</c:v>
                </c:pt>
                <c:pt idx="6">
                  <c:v>297.22</c:v>
                </c:pt>
                <c:pt idx="7">
                  <c:v>757.68</c:v>
                </c:pt>
                <c:pt idx="8">
                  <c:v>687.56</c:v>
                </c:pt>
                <c:pt idx="9">
                  <c:v>621.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2.74</a:t>
                    </a:r>
                  </a:p>
                </c:rich>
              </c:tx>
              <c:showLegendKey val="0"/>
              <c:showVal val="1"/>
              <c:showCatName val="0"/>
              <c:showSerName val="0"/>
              <c:showPercent val="0"/>
              <c:showBubbleSize val="0"/>
            </c:dLbl>
            <c:dLbl>
              <c:idx val="1"/>
              <c:tx>
                <c:rich>
                  <a:bodyPr/>
                  <a:lstStyle/>
                  <a:p>
                    <a:r>
                      <a:t>216.2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Ultra Sunscreen Adults Sport Roll-On 60+ 75Ml</c:v>
                </c:pt>
                <c:pt idx="1">
                  <c:v>Edgewell Banana Boat Kids Sport Sunscreen Kids Cosmetics Roll-On 60+ 75Ml</c:v>
                </c:pt>
              </c:strCache>
            </c:strRef>
          </c:cat>
          <c:val>
            <c:numRef>
              <c:f>Sheet1!$B$2:$B$3</c:f>
              <c:numCache>
                <c:formatCode>General</c:formatCode>
                <c:ptCount val="2"/>
                <c:pt idx="0">
                  <c:v>222.74</c:v>
                </c:pt>
                <c:pt idx="1">
                  <c:v>216.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9.2</a:t>
                    </a:r>
                  </a:p>
                </c:rich>
              </c:tx>
              <c:showLegendKey val="0"/>
              <c:showVal val="1"/>
              <c:showCatName val="0"/>
              <c:showSerName val="0"/>
              <c:showPercent val="0"/>
              <c:showBubbleSize val="0"/>
            </c:dLbl>
            <c:dLbl>
              <c:idx val="1"/>
              <c:tx>
                <c:rich>
                  <a:bodyPr/>
                  <a:lstStyle/>
                  <a:p>
                    <a:r>
                      <a:t>422.35</a:t>
                    </a:r>
                  </a:p>
                </c:rich>
              </c:tx>
              <c:showLegendKey val="0"/>
              <c:showVal val="1"/>
              <c:showCatName val="0"/>
              <c:showSerName val="0"/>
              <c:showPercent val="0"/>
              <c:showBubbleSize val="0"/>
            </c:dLbl>
            <c:dLbl>
              <c:idx val="2"/>
              <c:tx>
                <c:rich>
                  <a:bodyPr/>
                  <a:lstStyle/>
                  <a:p>
                    <a:r>
                      <a:t>243.26</a:t>
                    </a:r>
                  </a:p>
                </c:rich>
              </c:tx>
              <c:showLegendKey val="0"/>
              <c:showVal val="1"/>
              <c:showCatName val="0"/>
              <c:showSerName val="0"/>
              <c:showPercent val="0"/>
              <c:showBubbleSize val="0"/>
            </c:dLbl>
            <c:dLbl>
              <c:idx val="3"/>
              <c:tx>
                <c:rich>
                  <a:bodyPr/>
                  <a:lstStyle/>
                  <a:p>
                    <a:r>
                      <a:t>729.09</a:t>
                    </a:r>
                  </a:p>
                </c:rich>
              </c:tx>
              <c:showLegendKey val="0"/>
              <c:showVal val="1"/>
              <c:showCatName val="0"/>
              <c:showSerName val="0"/>
              <c:showPercent val="0"/>
              <c:showBubbleSize val="0"/>
            </c:dLbl>
            <c:dLbl>
              <c:idx val="4"/>
              <c:tx>
                <c:rich>
                  <a:bodyPr/>
                  <a:lstStyle/>
                  <a:p>
                    <a:r>
                      <a:t>892.21</a:t>
                    </a:r>
                  </a:p>
                </c:rich>
              </c:tx>
              <c:showLegendKey val="0"/>
              <c:showVal val="1"/>
              <c:showCatName val="0"/>
              <c:showSerName val="0"/>
              <c:showPercent val="0"/>
              <c:showBubbleSize val="0"/>
            </c:dLbl>
            <c:dLbl>
              <c:idx val="5"/>
              <c:tx>
                <c:rich>
                  <a:bodyPr/>
                  <a:lstStyle/>
                  <a:p>
                    <a:r>
                      <a:t>834.39</a:t>
                    </a:r>
                  </a:p>
                </c:rich>
              </c:tx>
              <c:showLegendKey val="0"/>
              <c:showVal val="1"/>
              <c:showCatName val="0"/>
              <c:showSerName val="0"/>
              <c:showPercent val="0"/>
              <c:showBubbleSize val="0"/>
            </c:dLbl>
            <c:dLbl>
              <c:idx val="6"/>
              <c:tx>
                <c:rich>
                  <a:bodyPr/>
                  <a:lstStyle/>
                  <a:p>
                    <a:r>
                      <a:t>380.57</a:t>
                    </a:r>
                  </a:p>
                </c:rich>
              </c:tx>
              <c:showLegendKey val="0"/>
              <c:showVal val="1"/>
              <c:showCatName val="0"/>
              <c:showSerName val="0"/>
              <c:showPercent val="0"/>
              <c:showBubbleSize val="0"/>
            </c:dLbl>
            <c:dLbl>
              <c:idx val="7"/>
              <c:tx>
                <c:rich>
                  <a:bodyPr/>
                  <a:lstStyle/>
                  <a:p>
                    <a:r>
                      <a:t>1239.0</a:t>
                    </a:r>
                  </a:p>
                </c:rich>
              </c:tx>
              <c:showLegendKey val="0"/>
              <c:showVal val="1"/>
              <c:showCatName val="0"/>
              <c:showSerName val="0"/>
              <c:showPercent val="0"/>
              <c:showBubbleSize val="0"/>
            </c:dLbl>
            <c:dLbl>
              <c:idx val="8"/>
              <c:tx>
                <c:rich>
                  <a:bodyPr/>
                  <a:lstStyle/>
                  <a:p>
                    <a:r>
                      <a:t>834.02</a:t>
                    </a:r>
                  </a:p>
                </c:rich>
              </c:tx>
              <c:showLegendKey val="0"/>
              <c:showVal val="1"/>
              <c:showCatName val="0"/>
              <c:showSerName val="0"/>
              <c:showPercent val="0"/>
              <c:showBubbleSize val="0"/>
            </c:dLbl>
            <c:dLbl>
              <c:idx val="9"/>
              <c:tx>
                <c:rich>
                  <a:bodyPr/>
                  <a:lstStyle/>
                  <a:p>
                    <a:r>
                      <a:t>409.15</a:t>
                    </a:r>
                  </a:p>
                </c:rich>
              </c:tx>
              <c:showLegendKey val="0"/>
              <c:showVal val="1"/>
              <c:showCatName val="0"/>
              <c:showSerName val="0"/>
              <c:showPercent val="0"/>
              <c:showBubbleSize val="0"/>
            </c:dLbl>
            <c:dLbl>
              <c:idx val="10"/>
              <c:tx>
                <c:rich>
                  <a:bodyPr/>
                  <a:lstStyle/>
                  <a:p>
                    <a:r>
                      <a:t>350.48</a:t>
                    </a:r>
                  </a:p>
                </c:rich>
              </c:tx>
              <c:showLegendKey val="0"/>
              <c:showVal val="1"/>
              <c:showCatName val="0"/>
              <c:showSerName val="0"/>
              <c:showPercent val="0"/>
              <c:showBubbleSize val="0"/>
            </c:dLbl>
            <c:dLbl>
              <c:idx val="11"/>
              <c:tx>
                <c:rich>
                  <a:bodyPr/>
                  <a:lstStyle/>
                  <a:p>
                    <a:r>
                      <a:t>357.0</a:t>
                    </a:r>
                  </a:p>
                </c:rich>
              </c:tx>
              <c:showLegendKey val="0"/>
              <c:showVal val="1"/>
              <c:showCatName val="0"/>
              <c:showSerName val="0"/>
              <c:showPercent val="0"/>
              <c:showBubbleSize val="0"/>
            </c:dLbl>
            <c:dLbl>
              <c:idx val="12"/>
              <c:tx>
                <c:rich>
                  <a:bodyPr/>
                  <a:lstStyle/>
                  <a:p>
                    <a:r>
                      <a:t>103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Spray 50+ 170Ml</c:v>
                </c:pt>
                <c:pt idx="1">
                  <c:v>Edgewell Banana Boat Dry Balance Sunscreen Adults Sport Spray 50+ 170Ml</c:v>
                </c:pt>
                <c:pt idx="2">
                  <c:v>Edgewell Banana Boat Dry Balance Sunscreen Adults Cosmetics Spray 50+ 340Ml</c:v>
                </c:pt>
                <c:pt idx="3">
                  <c:v>Bioderma Photoderm Sunscreen Adults Derma Spray 50+ 300Ml</c:v>
                </c:pt>
                <c:pt idx="4">
                  <c:v>L'Oreal La Roche-Posay Sunscreen Adults Derma Spray 50+ 200Ml</c:v>
                </c:pt>
                <c:pt idx="5">
                  <c:v>Bioderma Photoderm Sunscreen Adults Derma Spray 50+ 150Ml</c:v>
                </c:pt>
                <c:pt idx="6">
                  <c:v>Australian Gold Australian Gold Sunscreen Adults Cosmetics Spray 30 - 49 170Ml</c:v>
                </c:pt>
                <c:pt idx="7">
                  <c:v>L'Oreal La Roche-Posay Sunscreen Kids Derma Spray 50+ 200Ml</c:v>
                </c:pt>
                <c:pt idx="8">
                  <c:v>Bioderma Photoderm Sunscreen Kids Derma Spray 50+ 200Ml</c:v>
                </c:pt>
                <c:pt idx="9">
                  <c:v>Australian Gold Australian Gold Sunscreen Adults Sport Spray 50 170Ml</c:v>
                </c:pt>
                <c:pt idx="10">
                  <c:v>Australian Gold Australian Gold Sunscreen Adults Cosmetics Spray 15 - 19 170Ml</c:v>
                </c:pt>
                <c:pt idx="11">
                  <c:v>Australian Gold Australian Gold Sunscreen Kids Cosmetics Spray 50 170Ml</c:v>
                </c:pt>
                <c:pt idx="12">
                  <c:v>Bioderma Photoderm Sunscreen Adults Derma Spray 50+ 400Ml</c:v>
                </c:pt>
              </c:strCache>
            </c:strRef>
          </c:cat>
          <c:val>
            <c:numRef>
              <c:f>Sheet1!$B$2:$B$14</c:f>
              <c:numCache>
                <c:formatCode>General</c:formatCode>
                <c:ptCount val="13"/>
                <c:pt idx="0">
                  <c:v>309.2</c:v>
                </c:pt>
                <c:pt idx="1">
                  <c:v>422.35</c:v>
                </c:pt>
                <c:pt idx="2">
                  <c:v>243.26</c:v>
                </c:pt>
                <c:pt idx="3">
                  <c:v>729.09</c:v>
                </c:pt>
                <c:pt idx="4">
                  <c:v>892.21</c:v>
                </c:pt>
                <c:pt idx="5">
                  <c:v>834.39</c:v>
                </c:pt>
                <c:pt idx="6">
                  <c:v>380.57</c:v>
                </c:pt>
                <c:pt idx="7">
                  <c:v>1239.0</c:v>
                </c:pt>
                <c:pt idx="8">
                  <c:v>834.02</c:v>
                </c:pt>
                <c:pt idx="9">
                  <c:v>409.15</c:v>
                </c:pt>
                <c:pt idx="10">
                  <c:v>350.48</c:v>
                </c:pt>
                <c:pt idx="11">
                  <c:v>357.0</c:v>
                </c:pt>
                <c:pt idx="12">
                  <c:v>10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550.32</a:t>
                    </a:r>
                  </a:p>
                </c:rich>
              </c:tx>
              <c:showLegendKey val="0"/>
              <c:showVal val="1"/>
              <c:showCatName val="0"/>
              <c:showSerName val="0"/>
              <c:showPercent val="0"/>
              <c:showBubbleSize val="0"/>
            </c:dLbl>
            <c:dLbl>
              <c:idx val="2"/>
              <c:tx>
                <c:rich>
                  <a:bodyPr/>
                  <a:lstStyle/>
                  <a:p>
                    <a:r>
                      <a:t>677.76</a:t>
                    </a:r>
                  </a:p>
                </c:rich>
              </c:tx>
              <c:showLegendKey val="0"/>
              <c:showVal val="1"/>
              <c:showCatName val="0"/>
              <c:showSerName val="0"/>
              <c:showPercent val="0"/>
              <c:showBubbleSize val="0"/>
            </c:dLbl>
            <c:dLbl>
              <c:idx val="3"/>
              <c:tx>
                <c:rich>
                  <a:bodyPr/>
                  <a:lstStyle/>
                  <a:p>
                    <a:r>
                      <a:t>823.03</a:t>
                    </a:r>
                  </a:p>
                </c:rich>
              </c:tx>
              <c:showLegendKey val="0"/>
              <c:showVal val="1"/>
              <c:showCatName val="0"/>
              <c:showSerName val="0"/>
              <c:showPercent val="0"/>
              <c:showBubbleSize val="0"/>
            </c:dLbl>
            <c:dLbl>
              <c:idx val="4"/>
              <c:tx>
                <c:rich>
                  <a:bodyPr/>
                  <a:lstStyle/>
                  <a:p>
                    <a:r>
                      <a:t>682.57</a:t>
                    </a:r>
                  </a:p>
                </c:rich>
              </c:tx>
              <c:showLegendKey val="0"/>
              <c:showVal val="1"/>
              <c:showCatName val="0"/>
              <c:showSerName val="0"/>
              <c:showPercent val="0"/>
              <c:showBubbleSize val="0"/>
            </c:dLbl>
            <c:dLbl>
              <c:idx val="5"/>
              <c:tx>
                <c:rich>
                  <a:bodyPr/>
                  <a:lstStyle/>
                  <a:p>
                    <a:r>
                      <a:t>592.12</a:t>
                    </a:r>
                  </a:p>
                </c:rich>
              </c:tx>
              <c:showLegendKey val="0"/>
              <c:showVal val="1"/>
              <c:showCatName val="0"/>
              <c:showSerName val="0"/>
              <c:showPercent val="0"/>
              <c:showBubbleSize val="0"/>
            </c:dLbl>
            <c:dLbl>
              <c:idx val="6"/>
              <c:tx>
                <c:rich>
                  <a:bodyPr/>
                  <a:lstStyle/>
                  <a:p>
                    <a:r>
                      <a:t>722.94</a:t>
                    </a:r>
                  </a:p>
                </c:rich>
              </c:tx>
              <c:showLegendKey val="0"/>
              <c:showVal val="1"/>
              <c:showCatName val="0"/>
              <c:showSerName val="0"/>
              <c:showPercent val="0"/>
              <c:showBubbleSize val="0"/>
            </c:dLbl>
            <c:dLbl>
              <c:idx val="7"/>
              <c:tx>
                <c:rich>
                  <a:bodyPr/>
                  <a:lstStyle/>
                  <a:p>
                    <a:r>
                      <a:t>743.6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Tanning Sunscreen Adults Cosmetics Aceite 15 - 19 240Ml</c:v>
                </c:pt>
                <c:pt idx="1">
                  <c:v>L'Oreal La Roche-Posay Sunscreen Adults Derma Spray Aceite 50 75Ml</c:v>
                </c:pt>
                <c:pt idx="2">
                  <c:v>Isdin Isdin Sunscreen Adults Derma Spray Aceite 50 200Ml</c:v>
                </c:pt>
                <c:pt idx="3">
                  <c:v>L'Oreal La Roche-Posay Sunscreen Adults Derma Spray Aceite 50+ 200Ml</c:v>
                </c:pt>
                <c:pt idx="4">
                  <c:v>Ifc Heliocare Sunscreen Adults Derma Spray Aceite 50+ 200Ml</c:v>
                </c:pt>
                <c:pt idx="5">
                  <c:v>Isdin Isdin Sunscreen Adults Derma Aceite 30 200Ml</c:v>
                </c:pt>
                <c:pt idx="6">
                  <c:v>L'Oreal Vichy Sunscreen Adults Derma Spray Aceite 50 50Ml</c:v>
                </c:pt>
                <c:pt idx="7">
                  <c:v>L'Oreal Vichy Sunscreen Adults Derma Spray Aceite 50+ 200Ml</c:v>
                </c:pt>
              </c:strCache>
            </c:strRef>
          </c:cat>
          <c:val>
            <c:numRef>
              <c:f>Sheet1!$B$2:$B$9</c:f>
              <c:numCache>
                <c:formatCode>General</c:formatCode>
                <c:ptCount val="8"/>
                <c:pt idx="0">
                  <c:v>399.0</c:v>
                </c:pt>
                <c:pt idx="1">
                  <c:v>550.32</c:v>
                </c:pt>
                <c:pt idx="2">
                  <c:v>677.76</c:v>
                </c:pt>
                <c:pt idx="3">
                  <c:v>823.03</c:v>
                </c:pt>
                <c:pt idx="4">
                  <c:v>682.57</c:v>
                </c:pt>
                <c:pt idx="5">
                  <c:v>592.12</c:v>
                </c:pt>
                <c:pt idx="6">
                  <c:v>722.94</c:v>
                </c:pt>
                <c:pt idx="7">
                  <c:v>74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2</a:t>
                    </a:r>
                  </a:p>
                </c:rich>
              </c:tx>
              <c:showLegendKey val="0"/>
              <c:showVal val="1"/>
              <c:showCatName val="0"/>
              <c:showSerName val="0"/>
              <c:showPercent val="0"/>
              <c:showBubbleSize val="0"/>
            </c:dLbl>
            <c:dLbl>
              <c:idx val="1"/>
              <c:tx>
                <c:rich>
                  <a:bodyPr/>
                  <a:lstStyle/>
                  <a:p>
                    <a:r>
                      <a:t>348.86</a:t>
                    </a:r>
                  </a:p>
                </c:rich>
              </c:tx>
              <c:showLegendKey val="0"/>
              <c:showVal val="1"/>
              <c:showCatName val="0"/>
              <c:showSerName val="0"/>
              <c:showPercent val="0"/>
              <c:showBubbleSize val="0"/>
            </c:dLbl>
            <c:dLbl>
              <c:idx val="2"/>
              <c:tx>
                <c:rich>
                  <a:bodyPr/>
                  <a:lstStyle/>
                  <a:p>
                    <a:r>
                      <a:t>270.48</a:t>
                    </a:r>
                  </a:p>
                </c:rich>
              </c:tx>
              <c:showLegendKey val="0"/>
              <c:showVal val="1"/>
              <c:showCatName val="0"/>
              <c:showSerName val="0"/>
              <c:showPercent val="0"/>
              <c:showBubbleSize val="0"/>
            </c:dLbl>
            <c:dLbl>
              <c:idx val="3"/>
              <c:tx>
                <c:rich>
                  <a:bodyPr/>
                  <a:lstStyle/>
                  <a:p>
                    <a:r>
                      <a:t>359.59</a:t>
                    </a:r>
                  </a:p>
                </c:rich>
              </c:tx>
              <c:showLegendKey val="0"/>
              <c:showVal val="1"/>
              <c:showCatName val="0"/>
              <c:showSerName val="0"/>
              <c:showPercent val="0"/>
              <c:showBubbleSize val="0"/>
            </c:dLbl>
            <c:dLbl>
              <c:idx val="4"/>
              <c:tx>
                <c:rich>
                  <a:bodyPr/>
                  <a:lstStyle/>
                  <a:p>
                    <a:r>
                      <a:t>341.27</a:t>
                    </a:r>
                  </a:p>
                </c:rich>
              </c:tx>
              <c:showLegendKey val="0"/>
              <c:showVal val="1"/>
              <c:showCatName val="0"/>
              <c:showSerName val="0"/>
              <c:showPercent val="0"/>
              <c:showBubbleSize val="0"/>
            </c:dLbl>
            <c:dLbl>
              <c:idx val="5"/>
              <c:tx>
                <c:rich>
                  <a:bodyPr/>
                  <a:lstStyle/>
                  <a:p>
                    <a:r>
                      <a:t>716.41</a:t>
                    </a:r>
                  </a:p>
                </c:rich>
              </c:tx>
              <c:showLegendKey val="0"/>
              <c:showVal val="1"/>
              <c:showCatName val="0"/>
              <c:showSerName val="0"/>
              <c:showPercent val="0"/>
              <c:showBubbleSize val="0"/>
            </c:dLbl>
            <c:dLbl>
              <c:idx val="6"/>
              <c:tx>
                <c:rich>
                  <a:bodyPr/>
                  <a:lstStyle/>
                  <a:p>
                    <a:r>
                      <a:t>315.86</a:t>
                    </a:r>
                  </a:p>
                </c:rich>
              </c:tx>
              <c:showLegendKey val="0"/>
              <c:showVal val="1"/>
              <c:showCatName val="0"/>
              <c:showSerName val="0"/>
              <c:showPercent val="0"/>
              <c:showBubbleSize val="0"/>
            </c:dLbl>
            <c:dLbl>
              <c:idx val="7"/>
              <c:tx>
                <c:rich>
                  <a:bodyPr/>
                  <a:lstStyle/>
                  <a:p>
                    <a:r>
                      <a:t>365.11</a:t>
                    </a:r>
                  </a:p>
                </c:rich>
              </c:tx>
              <c:showLegendKey val="0"/>
              <c:showVal val="1"/>
              <c:showCatName val="0"/>
              <c:showSerName val="0"/>
              <c:showPercent val="0"/>
              <c:showBubbleSize val="0"/>
            </c:dLbl>
            <c:dLbl>
              <c:idx val="8"/>
              <c:tx>
                <c:rich>
                  <a:bodyPr/>
                  <a:lstStyle/>
                  <a:p>
                    <a:r>
                      <a:t>769.69</a:t>
                    </a:r>
                  </a:p>
                </c:rich>
              </c:tx>
              <c:showLegendKey val="0"/>
              <c:showVal val="1"/>
              <c:showCatName val="0"/>
              <c:showSerName val="0"/>
              <c:showPercent val="0"/>
              <c:showBubbleSize val="0"/>
            </c:dLbl>
            <c:dLbl>
              <c:idx val="9"/>
              <c:tx>
                <c:rich>
                  <a:bodyPr/>
                  <a:lstStyle/>
                  <a:p>
                    <a:r>
                      <a:t>308.98</a:t>
                    </a:r>
                  </a:p>
                </c:rich>
              </c:tx>
              <c:showLegendKey val="0"/>
              <c:showVal val="1"/>
              <c:showCatName val="0"/>
              <c:showSerName val="0"/>
              <c:showPercent val="0"/>
              <c:showBubbleSize val="0"/>
            </c:dLbl>
            <c:dLbl>
              <c:idx val="10"/>
              <c:tx>
                <c:rich>
                  <a:bodyPr/>
                  <a:lstStyle/>
                  <a:p>
                    <a:r>
                      <a:t>634.08</a:t>
                    </a:r>
                  </a:p>
                </c:rich>
              </c:tx>
              <c:showLegendKey val="0"/>
              <c:showVal val="1"/>
              <c:showCatName val="0"/>
              <c:showSerName val="0"/>
              <c:showPercent val="0"/>
              <c:showBubbleSize val="0"/>
            </c:dLbl>
            <c:dLbl>
              <c:idx val="11"/>
              <c:tx>
                <c:rich>
                  <a:bodyPr/>
                  <a:lstStyle/>
                  <a:p>
                    <a:r>
                      <a:t>642.22</a:t>
                    </a:r>
                  </a:p>
                </c:rich>
              </c:tx>
              <c:showLegendKey val="0"/>
              <c:showVal val="1"/>
              <c:showCatName val="0"/>
              <c:showSerName val="0"/>
              <c:showPercent val="0"/>
              <c:showBubbleSize val="0"/>
            </c:dLbl>
            <c:dLbl>
              <c:idx val="12"/>
              <c:tx>
                <c:rich>
                  <a:bodyPr/>
                  <a:lstStyle/>
                  <a:p>
                    <a:r>
                      <a:t>649.76</a:t>
                    </a:r>
                  </a:p>
                </c:rich>
              </c:tx>
              <c:showLegendKey val="0"/>
              <c:showVal val="1"/>
              <c:showCatName val="0"/>
              <c:showSerName val="0"/>
              <c:showPercent val="0"/>
              <c:showBubbleSize val="0"/>
            </c:dLbl>
            <c:dLbl>
              <c:idx val="13"/>
              <c:tx>
                <c:rich>
                  <a:bodyPr/>
                  <a:lstStyle/>
                  <a:p>
                    <a:r>
                      <a:t>601.16</a:t>
                    </a:r>
                  </a:p>
                </c:rich>
              </c:tx>
              <c:showLegendKey val="0"/>
              <c:showVal val="1"/>
              <c:showCatName val="0"/>
              <c:showSerName val="0"/>
              <c:showPercent val="0"/>
              <c:showBubbleSize val="0"/>
            </c:dLbl>
            <c:dLbl>
              <c:idx val="14"/>
              <c:tx>
                <c:rich>
                  <a:bodyPr/>
                  <a:lstStyle/>
                  <a:p>
                    <a:r>
                      <a:t>843.38</a:t>
                    </a:r>
                  </a:p>
                </c:rich>
              </c:tx>
              <c:showLegendKey val="0"/>
              <c:showVal val="1"/>
              <c:showCatName val="0"/>
              <c:showSerName val="0"/>
              <c:showPercent val="0"/>
              <c:showBubbleSize val="0"/>
            </c:dLbl>
            <c:dLbl>
              <c:idx val="15"/>
              <c:tx>
                <c:rich>
                  <a:bodyPr/>
                  <a:lstStyle/>
                  <a:p>
                    <a:r>
                      <a:t>900.71</a:t>
                    </a:r>
                  </a:p>
                </c:rich>
              </c:tx>
              <c:showLegendKey val="0"/>
              <c:showVal val="1"/>
              <c:showCatName val="0"/>
              <c:showSerName val="0"/>
              <c:showPercent val="0"/>
              <c:showBubbleSize val="0"/>
            </c:dLbl>
            <c:dLbl>
              <c:idx val="16"/>
              <c:tx>
                <c:rich>
                  <a:bodyPr/>
                  <a:lstStyle/>
                  <a:p>
                    <a:r>
                      <a:t>658.45</a:t>
                    </a:r>
                  </a:p>
                </c:rich>
              </c:tx>
              <c:showLegendKey val="0"/>
              <c:showVal val="1"/>
              <c:showCatName val="0"/>
              <c:showSerName val="0"/>
              <c:showPercent val="0"/>
              <c:showBubbleSize val="0"/>
            </c:dLbl>
            <c:dLbl>
              <c:idx val="17"/>
              <c:tx>
                <c:rich>
                  <a:bodyPr/>
                  <a:lstStyle/>
                  <a:p>
                    <a:r>
                      <a:t>226.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Hawaiian Tropic Other Sunscreen Adults Cosmetics Crema 50+ 240Ml</c:v>
                </c:pt>
                <c:pt idx="1">
                  <c:v>Edgewell Banana Boat Aqua Protect Sunscreen Adults Sport Crema 50+ 236Ml</c:v>
                </c:pt>
                <c:pt idx="2">
                  <c:v>Edgewell Banana Boat Dry Balance Sunscreen Adults Cosmetics Spray Crema 50+ 220Ml</c:v>
                </c:pt>
                <c:pt idx="3">
                  <c:v>Edgewell Banana Boat Dry Balance Sunscreen Adults Sport Crema 50+ 180Ml</c:v>
                </c:pt>
                <c:pt idx="4">
                  <c:v>Edgewell Banana Boat Aqua Protect Sunscreen Adults Cosmetics Crema 50+ 236Ml</c:v>
                </c:pt>
                <c:pt idx="5">
                  <c:v>Beiersdorf Eucerin Sunscreen Adults Derma Crema 50+ 50Ml</c:v>
                </c:pt>
                <c:pt idx="6">
                  <c:v>Beiersdorf Nivea Sunscreen Adults Cosmetics Crema 50 50Ml</c:v>
                </c:pt>
                <c:pt idx="7">
                  <c:v>Beiersdorf Nivea Sunscreen Adults Cosmetics Crema 50+ 200Ml</c:v>
                </c:pt>
                <c:pt idx="8">
                  <c:v>Beiersdorf Eucerin Sunscreen Adults Derma Crema 50+ 200Ml</c:v>
                </c:pt>
                <c:pt idx="9">
                  <c:v>Beiersdorf Nivea Sunscreen Adults Cosmetics Crema 50+ 40Ml</c:v>
                </c:pt>
                <c:pt idx="10">
                  <c:v>Isdin Isdin Sunscreen Adults Derma Crema 50+ 50Ml</c:v>
                </c:pt>
                <c:pt idx="11">
                  <c:v>Isdin Isdin Sunscreen Adults Derma Crema 50 50Ml</c:v>
                </c:pt>
                <c:pt idx="12">
                  <c:v>Isdin Isdin Sunscreen Adults Derma Crema 30 50Ml</c:v>
                </c:pt>
                <c:pt idx="13">
                  <c:v>L'Oreal La Roche-Posay Sunscreen Adults Derma Crema 50 50Ml</c:v>
                </c:pt>
                <c:pt idx="14">
                  <c:v>L'Oreal La Roche-Posay Sunscreen Adults Derma Crema 50+ 50Ml</c:v>
                </c:pt>
                <c:pt idx="15">
                  <c:v>L'Oreal Vichy Sunscreen Adults Derma Crema 50 300Ml</c:v>
                </c:pt>
                <c:pt idx="16">
                  <c:v>L'Oreal Vichy Sunscreen Adults Derma Crema 50+ 40Ml</c:v>
                </c:pt>
                <c:pt idx="17">
                  <c:v>L'Oreal Garnier Sunscreen Adults Cosmetics Crema 50+ 40Ml</c:v>
                </c:pt>
              </c:strCache>
            </c:strRef>
          </c:cat>
          <c:val>
            <c:numRef>
              <c:f>Sheet1!$B$2:$B$19</c:f>
              <c:numCache>
                <c:formatCode>General</c:formatCode>
                <c:ptCount val="18"/>
                <c:pt idx="0">
                  <c:v>305.32</c:v>
                </c:pt>
                <c:pt idx="1">
                  <c:v>348.86</c:v>
                </c:pt>
                <c:pt idx="2">
                  <c:v>270.48</c:v>
                </c:pt>
                <c:pt idx="3">
                  <c:v>359.59</c:v>
                </c:pt>
                <c:pt idx="4">
                  <c:v>341.27</c:v>
                </c:pt>
                <c:pt idx="5">
                  <c:v>716.41</c:v>
                </c:pt>
                <c:pt idx="6">
                  <c:v>315.86</c:v>
                </c:pt>
                <c:pt idx="7">
                  <c:v>365.11</c:v>
                </c:pt>
                <c:pt idx="8">
                  <c:v>769.69</c:v>
                </c:pt>
                <c:pt idx="9">
                  <c:v>308.98</c:v>
                </c:pt>
                <c:pt idx="10">
                  <c:v>634.08</c:v>
                </c:pt>
                <c:pt idx="11">
                  <c:v>642.22</c:v>
                </c:pt>
                <c:pt idx="12">
                  <c:v>649.76</c:v>
                </c:pt>
                <c:pt idx="13">
                  <c:v>601.16</c:v>
                </c:pt>
                <c:pt idx="14">
                  <c:v>843.38</c:v>
                </c:pt>
                <c:pt idx="15">
                  <c:v>900.71</c:v>
                </c:pt>
                <c:pt idx="16">
                  <c:v>658.45</c:v>
                </c:pt>
                <c:pt idx="17">
                  <c:v>226.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2.58</a:t>
                    </a:r>
                  </a:p>
                </c:rich>
              </c:tx>
              <c:showLegendKey val="0"/>
              <c:showVal val="1"/>
              <c:showCatName val="0"/>
              <c:showSerName val="0"/>
              <c:showPercent val="0"/>
              <c:showBubbleSize val="0"/>
            </c:dLbl>
            <c:dLbl>
              <c:idx val="1"/>
              <c:tx>
                <c:rich>
                  <a:bodyPr/>
                  <a:lstStyle/>
                  <a:p>
                    <a:r>
                      <a:t>633.08</a:t>
                    </a:r>
                  </a:p>
                </c:rich>
              </c:tx>
              <c:showLegendKey val="0"/>
              <c:showVal val="1"/>
              <c:showCatName val="0"/>
              <c:showSerName val="0"/>
              <c:showPercent val="0"/>
              <c:showBubbleSize val="0"/>
            </c:dLbl>
            <c:dLbl>
              <c:idx val="2"/>
              <c:tx>
                <c:rich>
                  <a:bodyPr/>
                  <a:lstStyle/>
                  <a:p>
                    <a:r>
                      <a:t>652.94</a:t>
                    </a:r>
                  </a:p>
                </c:rich>
              </c:tx>
              <c:showLegendKey val="0"/>
              <c:showVal val="1"/>
              <c:showCatName val="0"/>
              <c:showSerName val="0"/>
              <c:showPercent val="0"/>
              <c:showBubbleSize val="0"/>
            </c:dLbl>
            <c:dLbl>
              <c:idx val="3"/>
              <c:tx>
                <c:rich>
                  <a:bodyPr/>
                  <a:lstStyle/>
                  <a:p>
                    <a:r>
                      <a:t>771.01</a:t>
                    </a:r>
                  </a:p>
                </c:rich>
              </c:tx>
              <c:showLegendKey val="0"/>
              <c:showVal val="1"/>
              <c:showCatName val="0"/>
              <c:showSerName val="0"/>
              <c:showPercent val="0"/>
              <c:showBubbleSize val="0"/>
            </c:dLbl>
            <c:dLbl>
              <c:idx val="4"/>
              <c:tx>
                <c:rich>
                  <a:bodyPr/>
                  <a:lstStyle/>
                  <a:p>
                    <a:r>
                      <a:t>839.45</a:t>
                    </a:r>
                  </a:p>
                </c:rich>
              </c:tx>
              <c:showLegendKey val="0"/>
              <c:showVal val="1"/>
              <c:showCatName val="0"/>
              <c:showSerName val="0"/>
              <c:showPercent val="0"/>
              <c:showBubbleSize val="0"/>
            </c:dLbl>
            <c:dLbl>
              <c:idx val="5"/>
              <c:tx>
                <c:rich>
                  <a:bodyPr/>
                  <a:lstStyle/>
                  <a:p>
                    <a:r>
                      <a:t>635.21</a:t>
                    </a:r>
                  </a:p>
                </c:rich>
              </c:tx>
              <c:showLegendKey val="0"/>
              <c:showVal val="1"/>
              <c:showCatName val="0"/>
              <c:showSerName val="0"/>
              <c:showPercent val="0"/>
              <c:showBubbleSize val="0"/>
            </c:dLbl>
            <c:dLbl>
              <c:idx val="6"/>
              <c:tx>
                <c:rich>
                  <a:bodyPr/>
                  <a:lstStyle/>
                  <a:p>
                    <a:r>
                      <a:t>73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L'Oreal La Roche-Posay Sunscreen Adults Derma Fluido 50+ 50Ml</c:v>
                </c:pt>
                <c:pt idx="2">
                  <c:v>Isdin Isdin Sunscreen Adults Derma Fluido 50+ 50Ml</c:v>
                </c:pt>
                <c:pt idx="3">
                  <c:v>Pierre Fabre Avene Sunscreen Adults Derma Fluido 50+ 50Ml</c:v>
                </c:pt>
                <c:pt idx="4">
                  <c:v>Pierre Fabre Avene Sunscreen Adults Derma Fluido 50+ 40Ml</c:v>
                </c:pt>
                <c:pt idx="5">
                  <c:v>Isdin Isdin Sunscreen Baby Derma Fluido 50 50Ml</c:v>
                </c:pt>
                <c:pt idx="6">
                  <c:v>L'Oreal La Roche-Posay Sunscreen Kids Derma Fluido 50+ 50Ml</c:v>
                </c:pt>
              </c:strCache>
            </c:strRef>
          </c:cat>
          <c:val>
            <c:numRef>
              <c:f>Sheet1!$B$2:$B$8</c:f>
              <c:numCache>
                <c:formatCode>General</c:formatCode>
                <c:ptCount val="7"/>
                <c:pt idx="0">
                  <c:v>322.58</c:v>
                </c:pt>
                <c:pt idx="1">
                  <c:v>633.08</c:v>
                </c:pt>
                <c:pt idx="2">
                  <c:v>652.94</c:v>
                </c:pt>
                <c:pt idx="3">
                  <c:v>771.01</c:v>
                </c:pt>
                <c:pt idx="4">
                  <c:v>839.45</c:v>
                </c:pt>
                <c:pt idx="5">
                  <c:v>635.21</c:v>
                </c:pt>
                <c:pt idx="6">
                  <c:v>73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8.53</a:t>
                    </a:r>
                  </a:p>
                </c:rich>
              </c:tx>
              <c:showLegendKey val="0"/>
              <c:showVal val="1"/>
              <c:showCatName val="0"/>
              <c:showSerName val="0"/>
              <c:showPercent val="0"/>
              <c:showBubbleSize val="0"/>
            </c:dLbl>
            <c:dLbl>
              <c:idx val="1"/>
              <c:tx>
                <c:rich>
                  <a:bodyPr/>
                  <a:lstStyle/>
                  <a:p>
                    <a:r>
                      <a:t>347.12</a:t>
                    </a:r>
                  </a:p>
                </c:rich>
              </c:tx>
              <c:showLegendKey val="0"/>
              <c:showVal val="1"/>
              <c:showCatName val="0"/>
              <c:showSerName val="0"/>
              <c:showPercent val="0"/>
              <c:showBubbleSize val="0"/>
            </c:dLbl>
            <c:dLbl>
              <c:idx val="2"/>
              <c:tx>
                <c:rich>
                  <a:bodyPr/>
                  <a:lstStyle/>
                  <a:p>
                    <a:r>
                      <a:t>330.0</a:t>
                    </a:r>
                  </a:p>
                </c:rich>
              </c:tx>
              <c:showLegendKey val="0"/>
              <c:showVal val="1"/>
              <c:showCatName val="0"/>
              <c:showSerName val="0"/>
              <c:showPercent val="0"/>
              <c:showBubbleSize val="0"/>
            </c:dLbl>
            <c:dLbl>
              <c:idx val="3"/>
              <c:tx>
                <c:rich>
                  <a:bodyPr/>
                  <a:lstStyle/>
                  <a:p>
                    <a:r>
                      <a:t>339.09</a:t>
                    </a:r>
                  </a:p>
                </c:rich>
              </c:tx>
              <c:showLegendKey val="0"/>
              <c:showVal val="1"/>
              <c:showCatName val="0"/>
              <c:showSerName val="0"/>
              <c:showPercent val="0"/>
              <c:showBubbleSize val="0"/>
            </c:dLbl>
            <c:dLbl>
              <c:idx val="4"/>
              <c:tx>
                <c:rich>
                  <a:bodyPr/>
                  <a:lstStyle/>
                  <a:p>
                    <a:r>
                      <a:t>330.54</a:t>
                    </a:r>
                  </a:p>
                </c:rich>
              </c:tx>
              <c:showLegendKey val="0"/>
              <c:showVal val="1"/>
              <c:showCatName val="0"/>
              <c:showSerName val="0"/>
              <c:showPercent val="0"/>
              <c:showBubbleSize val="0"/>
            </c:dLbl>
            <c:dLbl>
              <c:idx val="5"/>
              <c:tx>
                <c:rich>
                  <a:bodyPr/>
                  <a:lstStyle/>
                  <a:p>
                    <a:r>
                      <a:t>350.73</a:t>
                    </a:r>
                  </a:p>
                </c:rich>
              </c:tx>
              <c:showLegendKey val="0"/>
              <c:showVal val="1"/>
              <c:showCatName val="0"/>
              <c:showSerName val="0"/>
              <c:showPercent val="0"/>
              <c:showBubbleSize val="0"/>
            </c:dLbl>
            <c:dLbl>
              <c:idx val="6"/>
              <c:tx>
                <c:rich>
                  <a:bodyPr/>
                  <a:lstStyle/>
                  <a:p>
                    <a:r>
                      <a:t>188.72</a:t>
                    </a:r>
                  </a:p>
                </c:rich>
              </c:tx>
              <c:showLegendKey val="0"/>
              <c:showVal val="1"/>
              <c:showCatName val="0"/>
              <c:showSerName val="0"/>
              <c:showPercent val="0"/>
              <c:showBubbleSize val="0"/>
            </c:dLbl>
            <c:dLbl>
              <c:idx val="7"/>
              <c:tx>
                <c:rich>
                  <a:bodyPr/>
                  <a:lstStyle/>
                  <a:p>
                    <a:r>
                      <a:t>342.65</a:t>
                    </a:r>
                  </a:p>
                </c:rich>
              </c:tx>
              <c:showLegendKey val="0"/>
              <c:showVal val="1"/>
              <c:showCatName val="0"/>
              <c:showSerName val="0"/>
              <c:showPercent val="0"/>
              <c:showBubbleSize val="0"/>
            </c:dLbl>
            <c:dLbl>
              <c:idx val="8"/>
              <c:tx>
                <c:rich>
                  <a:bodyPr/>
                  <a:lstStyle/>
                  <a:p>
                    <a:r>
                      <a:t>401.86</a:t>
                    </a:r>
                  </a:p>
                </c:rich>
              </c:tx>
              <c:showLegendKey val="0"/>
              <c:showVal val="1"/>
              <c:showCatName val="0"/>
              <c:showSerName val="0"/>
              <c:showPercent val="0"/>
              <c:showBubbleSize val="0"/>
            </c:dLbl>
            <c:dLbl>
              <c:idx val="9"/>
              <c:tx>
                <c:rich>
                  <a:bodyPr/>
                  <a:lstStyle/>
                  <a:p>
                    <a:r>
                      <a:t>823.38</a:t>
                    </a:r>
                  </a:p>
                </c:rich>
              </c:tx>
              <c:showLegendKey val="0"/>
              <c:showVal val="1"/>
              <c:showCatName val="0"/>
              <c:showSerName val="0"/>
              <c:showPercent val="0"/>
              <c:showBubbleSize val="0"/>
            </c:dLbl>
            <c:dLbl>
              <c:idx val="10"/>
              <c:tx>
                <c:rich>
                  <a:bodyPr/>
                  <a:lstStyle/>
                  <a:p>
                    <a:r>
                      <a:t>1206.0</a:t>
                    </a:r>
                  </a:p>
                </c:rich>
              </c:tx>
              <c:showLegendKey val="0"/>
              <c:showVal val="1"/>
              <c:showCatName val="0"/>
              <c:showSerName val="0"/>
              <c:showPercent val="0"/>
              <c:showBubbleSize val="0"/>
            </c:dLbl>
            <c:dLbl>
              <c:idx val="11"/>
              <c:tx>
                <c:rich>
                  <a:bodyPr/>
                  <a:lstStyle/>
                  <a:p>
                    <a:r>
                      <a:t>677.78</a:t>
                    </a:r>
                  </a:p>
                </c:rich>
              </c:tx>
              <c:showLegendKey val="0"/>
              <c:showVal val="1"/>
              <c:showCatName val="0"/>
              <c:showSerName val="0"/>
              <c:showPercent val="0"/>
              <c:showBubbleSize val="0"/>
            </c:dLbl>
            <c:dLbl>
              <c:idx val="12"/>
              <c:tx>
                <c:rich>
                  <a:bodyPr/>
                  <a:lstStyle/>
                  <a:p>
                    <a:r>
                      <a:t>609.89</a:t>
                    </a:r>
                  </a:p>
                </c:rich>
              </c:tx>
              <c:showLegendKey val="0"/>
              <c:showVal val="1"/>
              <c:showCatName val="0"/>
              <c:showSerName val="0"/>
              <c:showPercent val="0"/>
              <c:showBubbleSize val="0"/>
            </c:dLbl>
            <c:dLbl>
              <c:idx val="13"/>
              <c:tx>
                <c:rich>
                  <a:bodyPr/>
                  <a:lstStyle/>
                  <a:p>
                    <a:r>
                      <a:t>593.0</a:t>
                    </a:r>
                  </a:p>
                </c:rich>
              </c:tx>
              <c:showLegendKey val="0"/>
              <c:showVal val="1"/>
              <c:showCatName val="0"/>
              <c:showSerName val="0"/>
              <c:showPercent val="0"/>
              <c:showBubbleSize val="0"/>
            </c:dLbl>
            <c:dLbl>
              <c:idx val="14"/>
              <c:tx>
                <c:rich>
                  <a:bodyPr/>
                  <a:lstStyle/>
                  <a:p>
                    <a:r>
                      <a:t>286.1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Spray Liquido 50 220Ml</c:v>
                </c:pt>
                <c:pt idx="2">
                  <c:v>Edgewell Hawaiian Tropic Island Sport Sunscreen Adults Sport Liquido 50 240Ml</c:v>
                </c:pt>
                <c:pt idx="3">
                  <c:v>Edgewell Banana Boat Aqua Protect Sunscreen Adults Cosmetics Spray Liquido 50+ 170Ml</c:v>
                </c:pt>
                <c:pt idx="4">
                  <c:v>Edgewell Banana Boat Advanced Protection Sunscreen Adults Cosmetics Liquido 50+ 240Ml</c:v>
                </c:pt>
                <c:pt idx="5">
                  <c:v>Beiersdorf Nivea Sunscreen Adults Cosmetics Liquido 50 200Ml</c:v>
                </c:pt>
                <c:pt idx="6">
                  <c:v>Beiersdorf Nivea Sunscreen Adults Cosmetics Liquido 50+ 125Ml</c:v>
                </c:pt>
                <c:pt idx="7">
                  <c:v>Beiersdorf Nivea Sunscreen Kids Cosmetics Liquido 50+ 200Ml</c:v>
                </c:pt>
                <c:pt idx="8">
                  <c:v>Beiersdorf Nivea Sunscreen Adults Cosmetics Spray Liquido 50 200Ml</c:v>
                </c:pt>
                <c:pt idx="9">
                  <c:v>Beiersdorf Eucerin Sunscreen Adults Derma Spray Liquido 50 200Ml</c:v>
                </c:pt>
                <c:pt idx="10">
                  <c:v>Others Fabricante Unif. Others Marca Unif. Sunscreen Adults Cosmetics Liquido 30 - 49 50Ml</c:v>
                </c:pt>
                <c:pt idx="11">
                  <c:v>Others Fabricante Unif. Others Marca Unif. Sunscreen Adults Derma Spray Liquido 50+ 120Ml</c:v>
                </c:pt>
                <c:pt idx="12">
                  <c:v>Others Fabricante Unif. Others Marca Unif. Sunscreen Adults Derma Liquido 50+ 50Ml</c:v>
                </c:pt>
                <c:pt idx="13">
                  <c:v>Others Fabricante Unif. Others Marca Unif. Sunscreen Adults Derma Spray Liquido 50+ 200Ml</c:v>
                </c:pt>
                <c:pt idx="14">
                  <c:v>Others Fabricante Unif. Others Marca Unif. Sunscreen Adults Cosmetics Spray Liquido 50 200Ml</c:v>
                </c:pt>
              </c:strCache>
            </c:strRef>
          </c:cat>
          <c:val>
            <c:numRef>
              <c:f>Sheet1!$B$2:$B$16</c:f>
              <c:numCache>
                <c:formatCode>General</c:formatCode>
                <c:ptCount val="15"/>
                <c:pt idx="0">
                  <c:v>318.53</c:v>
                </c:pt>
                <c:pt idx="1">
                  <c:v>347.12</c:v>
                </c:pt>
                <c:pt idx="2">
                  <c:v>330.0</c:v>
                </c:pt>
                <c:pt idx="3">
                  <c:v>339.09</c:v>
                </c:pt>
                <c:pt idx="4">
                  <c:v>330.54</c:v>
                </c:pt>
                <c:pt idx="5">
                  <c:v>350.73</c:v>
                </c:pt>
                <c:pt idx="6">
                  <c:v>188.72</c:v>
                </c:pt>
                <c:pt idx="7">
                  <c:v>342.65</c:v>
                </c:pt>
                <c:pt idx="8">
                  <c:v>401.86</c:v>
                </c:pt>
                <c:pt idx="9">
                  <c:v>823.38</c:v>
                </c:pt>
                <c:pt idx="10">
                  <c:v>1206.0</c:v>
                </c:pt>
                <c:pt idx="11">
                  <c:v>677.78</c:v>
                </c:pt>
                <c:pt idx="12">
                  <c:v>609.89</c:v>
                </c:pt>
                <c:pt idx="13">
                  <c:v>593.0</c:v>
                </c:pt>
                <c:pt idx="14">
                  <c:v>286.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9.99</a:t>
                    </a:r>
                  </a:p>
                </c:rich>
              </c:tx>
              <c:showLegendKey val="0"/>
              <c:showVal val="1"/>
              <c:showCatName val="0"/>
              <c:showSerName val="0"/>
              <c:showPercent val="0"/>
              <c:showBubbleSize val="0"/>
            </c:dLbl>
            <c:dLbl>
              <c:idx val="1"/>
              <c:tx>
                <c:rich>
                  <a:bodyPr/>
                  <a:lstStyle/>
                  <a:p>
                    <a:r>
                      <a:t>417.8</a:t>
                    </a:r>
                  </a:p>
                </c:rich>
              </c:tx>
              <c:showLegendKey val="0"/>
              <c:showVal val="1"/>
              <c:showCatName val="0"/>
              <c:showSerName val="0"/>
              <c:showPercent val="0"/>
              <c:showBubbleSize val="0"/>
            </c:dLbl>
            <c:dLbl>
              <c:idx val="2"/>
              <c:tx>
                <c:rich>
                  <a:bodyPr/>
                  <a:lstStyle/>
                  <a:p>
                    <a:r>
                      <a:t>358.05</a:t>
                    </a:r>
                  </a:p>
                </c:rich>
              </c:tx>
              <c:showLegendKey val="0"/>
              <c:showVal val="1"/>
              <c:showCatName val="0"/>
              <c:showSerName val="0"/>
              <c:showPercent val="0"/>
              <c:showBubbleSize val="0"/>
            </c:dLbl>
            <c:dLbl>
              <c:idx val="3"/>
              <c:tx>
                <c:rich>
                  <a:bodyPr/>
                  <a:lstStyle/>
                  <a:p>
                    <a:r>
                      <a:t>362.05</a:t>
                    </a:r>
                  </a:p>
                </c:rich>
              </c:tx>
              <c:showLegendKey val="0"/>
              <c:showVal val="1"/>
              <c:showCatName val="0"/>
              <c:showSerName val="0"/>
              <c:showPercent val="0"/>
              <c:showBubbleSize val="0"/>
            </c:dLbl>
            <c:dLbl>
              <c:idx val="4"/>
              <c:tx>
                <c:rich>
                  <a:bodyPr/>
                  <a:lstStyle/>
                  <a:p>
                    <a:r>
                      <a:t>88.14</a:t>
                    </a:r>
                  </a:p>
                </c:rich>
              </c:tx>
              <c:showLegendKey val="0"/>
              <c:showVal val="1"/>
              <c:showCatName val="0"/>
              <c:showSerName val="0"/>
              <c:showPercent val="0"/>
              <c:showBubbleSize val="0"/>
            </c:dLbl>
            <c:dLbl>
              <c:idx val="5"/>
              <c:tx>
                <c:rich>
                  <a:bodyPr/>
                  <a:lstStyle/>
                  <a:p>
                    <a:r>
                      <a:t>683.05</a:t>
                    </a:r>
                  </a:p>
                </c:rich>
              </c:tx>
              <c:showLegendKey val="0"/>
              <c:showVal val="1"/>
              <c:showCatName val="0"/>
              <c:showSerName val="0"/>
              <c:showPercent val="0"/>
              <c:showBubbleSize val="0"/>
            </c:dLbl>
            <c:dLbl>
              <c:idx val="6"/>
              <c:tx>
                <c:rich>
                  <a:bodyPr/>
                  <a:lstStyle/>
                  <a:p>
                    <a:r>
                      <a:t>617.14</a:t>
                    </a:r>
                  </a:p>
                </c:rich>
              </c:tx>
              <c:showLegendKey val="0"/>
              <c:showVal val="1"/>
              <c:showCatName val="0"/>
              <c:showSerName val="0"/>
              <c:showPercent val="0"/>
              <c:showBubbleSize val="0"/>
            </c:dLbl>
            <c:dLbl>
              <c:idx val="7"/>
              <c:tx>
                <c:rich>
                  <a:bodyPr/>
                  <a:lstStyle/>
                  <a:p>
                    <a:r>
                      <a:t>286.15</a:t>
                    </a:r>
                  </a:p>
                </c:rich>
              </c:tx>
              <c:showLegendKey val="0"/>
              <c:showVal val="1"/>
              <c:showCatName val="0"/>
              <c:showSerName val="0"/>
              <c:showPercent val="0"/>
              <c:showBubbleSize val="0"/>
            </c:dLbl>
            <c:dLbl>
              <c:idx val="8"/>
              <c:tx>
                <c:rich>
                  <a:bodyPr/>
                  <a:lstStyle/>
                  <a:p>
                    <a:r>
                      <a:t>49.39</a:t>
                    </a:r>
                  </a:p>
                </c:rich>
              </c:tx>
              <c:showLegendKey val="0"/>
              <c:showVal val="1"/>
              <c:showCatName val="0"/>
              <c:showSerName val="0"/>
              <c:showPercent val="0"/>
              <c:showBubbleSize val="0"/>
            </c:dLbl>
            <c:dLbl>
              <c:idx val="9"/>
              <c:tx>
                <c:rich>
                  <a:bodyPr/>
                  <a:lstStyle/>
                  <a:p>
                    <a:r>
                      <a:t>204.11</a:t>
                    </a:r>
                  </a:p>
                </c:rich>
              </c:tx>
              <c:showLegendKey val="0"/>
              <c:showVal val="1"/>
              <c:showCatName val="0"/>
              <c:showSerName val="0"/>
              <c:showPercent val="0"/>
              <c:showBubbleSize val="0"/>
            </c:dLbl>
            <c:dLbl>
              <c:idx val="10"/>
              <c:tx>
                <c:rich>
                  <a:bodyPr/>
                  <a:lstStyle/>
                  <a:p>
                    <a:r>
                      <a:t>367.0</a:t>
                    </a:r>
                  </a:p>
                </c:rich>
              </c:tx>
              <c:showLegendKey val="0"/>
              <c:showVal val="1"/>
              <c:showCatName val="0"/>
              <c:showSerName val="0"/>
              <c:showPercent val="0"/>
              <c:showBubbleSize val="0"/>
            </c:dLbl>
            <c:dLbl>
              <c:idx val="11"/>
              <c:tx>
                <c:rich>
                  <a:bodyPr/>
                  <a:lstStyle/>
                  <a:p>
                    <a:r>
                      <a:t>354.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Mineral Sunscreen Kids Cosmetics Locion 50 180Ml</c:v>
                </c:pt>
                <c:pt idx="1">
                  <c:v>Edgewell Banana Boat Banded Pack Banded Pack 2X Sunscreen Multi 50+ 170Ml</c:v>
                </c:pt>
                <c:pt idx="2">
                  <c:v>Edgewell Banana Boat Mineral Sunscreen Adults Sport Locion 50 180Ml</c:v>
                </c:pt>
                <c:pt idx="3">
                  <c:v>Edgewell Banana Boat Mineral Sunscreen Adults Cosmetics Locion 50 180Ml</c:v>
                </c:pt>
                <c:pt idx="4">
                  <c:v>Edgewell Banana Boat Dry Balance Sunscreen Adults Sport Locion 50+ 60Ml</c:v>
                </c:pt>
                <c:pt idx="5">
                  <c:v>Isdin Isdin Sunscreen Baby Derma Spray Locion 50+ 250Ml</c:v>
                </c:pt>
                <c:pt idx="6">
                  <c:v>Isdin Isdin Sunscreen Adults Derma Locion 50+ 200Ml</c:v>
                </c:pt>
                <c:pt idx="7">
                  <c:v>Others Fabricante Unif. Others Marca Unif. Sunscreen Adults Sport Spray Locion 50 200Ml</c:v>
                </c:pt>
                <c:pt idx="8">
                  <c:v>Others Fabricante Unif. Others Marca Unif. Sunscreen Adults Cosmetics Locion 50+ 35Ml</c:v>
                </c:pt>
                <c:pt idx="9">
                  <c:v>Others Fabricante Unif. Others Marca Unif. Sunscreen Adults Cosmetics Locion 50 100Ml</c:v>
                </c:pt>
                <c:pt idx="10">
                  <c:v>Others Fabricante Unif. Others Marca Unif. Sunscreen Kids Cosmetics Locion 50+ 177Ml</c:v>
                </c:pt>
                <c:pt idx="11">
                  <c:v>Others Fabricante Unif. Others Marca Unif. Sunscreen Kids Cosmetics Spray Locion 30 - 49 200Ml</c:v>
                </c:pt>
              </c:strCache>
            </c:strRef>
          </c:cat>
          <c:val>
            <c:numRef>
              <c:f>Sheet1!$B$2:$B$13</c:f>
              <c:numCache>
                <c:formatCode>General</c:formatCode>
                <c:ptCount val="12"/>
                <c:pt idx="0">
                  <c:v>359.99</c:v>
                </c:pt>
                <c:pt idx="1">
                  <c:v>417.8</c:v>
                </c:pt>
                <c:pt idx="2">
                  <c:v>358.05</c:v>
                </c:pt>
                <c:pt idx="3">
                  <c:v>362.05</c:v>
                </c:pt>
                <c:pt idx="4">
                  <c:v>88.14</c:v>
                </c:pt>
                <c:pt idx="5">
                  <c:v>683.05</c:v>
                </c:pt>
                <c:pt idx="6">
                  <c:v>617.14</c:v>
                </c:pt>
                <c:pt idx="7">
                  <c:v>286.15</c:v>
                </c:pt>
                <c:pt idx="8">
                  <c:v>49.39</c:v>
                </c:pt>
                <c:pt idx="9">
                  <c:v>204.11</c:v>
                </c:pt>
                <c:pt idx="10">
                  <c:v>367.0</c:v>
                </c:pt>
                <c:pt idx="11">
                  <c:v>354.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4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dLblPos val="t"/>
              <c:showLegendKey val="0"/>
              <c:showVal val="1"/>
              <c:showCatName val="0"/>
              <c:showSerName val="0"/>
              <c:showPercent val="0"/>
              <c:showBubbleSize val="0"/>
            </c:dLbl>
            <c:dLbl>
              <c:idx val="1"/>
              <c:tx>
                <c:rich>
                  <a:bodyPr/>
                  <a:lstStyle/>
                  <a:p>
                    <a:r>
                      <a:t>280.19</a:t>
                    </a:r>
                  </a:p>
                </c:rich>
              </c:tx>
              <c:dLblPos val="t"/>
              <c:showLegendKey val="0"/>
              <c:showVal val="1"/>
              <c:showCatName val="0"/>
              <c:showSerName val="0"/>
              <c:showPercent val="0"/>
              <c:showBubbleSize val="0"/>
            </c:dLbl>
            <c:dLbl>
              <c:idx val="2"/>
              <c:tx>
                <c:rich>
                  <a:bodyPr/>
                  <a:lstStyle/>
                  <a:p>
                    <a:r>
                      <a:t>230.57</a:t>
                    </a:r>
                  </a:p>
                </c:rich>
              </c:tx>
              <c:dLblPos val="t"/>
              <c:showLegendKey val="0"/>
              <c:showVal val="1"/>
              <c:showCatName val="0"/>
              <c:showSerName val="0"/>
              <c:showPercent val="0"/>
              <c:showBubbleSize val="0"/>
            </c:dLbl>
            <c:dLbl>
              <c:idx val="3"/>
              <c:tx>
                <c:rich>
                  <a:bodyPr/>
                  <a:lstStyle/>
                  <a:p>
                    <a:r>
                      <a:t>238.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42.81</c:v>
                </c:pt>
                <c:pt idx="1">
                  <c:v>280.19</c:v>
                </c:pt>
                <c:pt idx="2">
                  <c:v>230.57</c:v>
                </c:pt>
                <c:pt idx="3">
                  <c:v>23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258.0</a:t>
                    </a:r>
                  </a:p>
                </c:rich>
              </c:tx>
              <c:showLegendKey val="0"/>
              <c:showVal val="1"/>
              <c:showCatName val="0"/>
              <c:showSerName val="0"/>
              <c:showPercent val="0"/>
              <c:showBubbleSize val="0"/>
            </c:dLbl>
            <c:dLbl>
              <c:idx val="2"/>
              <c:tx>
                <c:rich>
                  <a:bodyPr/>
                  <a:lstStyle/>
                  <a:p>
                    <a:r>
                      <a:t>294.01</a:t>
                    </a:r>
                  </a:p>
                </c:rich>
              </c:tx>
              <c:showLegendKey val="0"/>
              <c:showVal val="1"/>
              <c:showCatName val="0"/>
              <c:showSerName val="0"/>
              <c:showPercent val="0"/>
              <c:showBubbleSize val="0"/>
            </c:dLbl>
            <c:dLbl>
              <c:idx val="3"/>
              <c:tx>
                <c:rich>
                  <a:bodyPr/>
                  <a:lstStyle/>
                  <a:p>
                    <a:r>
                      <a:t>232.54</a:t>
                    </a:r>
                  </a:p>
                </c:rich>
              </c:tx>
              <c:showLegendKey val="0"/>
              <c:showVal val="1"/>
              <c:showCatName val="0"/>
              <c:showSerName val="0"/>
              <c:showPercent val="0"/>
              <c:showBubbleSize val="0"/>
            </c:dLbl>
            <c:dLbl>
              <c:idx val="4"/>
              <c:tx>
                <c:rich>
                  <a:bodyPr/>
                  <a:lstStyle/>
                  <a:p>
                    <a:r>
                      <a:t>290.0</a:t>
                    </a:r>
                  </a:p>
                </c:rich>
              </c:tx>
              <c:showLegendKey val="0"/>
              <c:showVal val="1"/>
              <c:showCatName val="0"/>
              <c:showSerName val="0"/>
              <c:showPercent val="0"/>
              <c:showBubbleSize val="0"/>
            </c:dLbl>
            <c:dLbl>
              <c:idx val="5"/>
              <c:tx>
                <c:rich>
                  <a:bodyPr/>
                  <a:lstStyle/>
                  <a:p>
                    <a:r>
                      <a:t>453.61</a:t>
                    </a:r>
                  </a:p>
                </c:rich>
              </c:tx>
              <c:showLegendKey val="0"/>
              <c:showVal val="1"/>
              <c:showCatName val="0"/>
              <c:showSerName val="0"/>
              <c:showPercent val="0"/>
              <c:showBubbleSize val="0"/>
            </c:dLbl>
            <c:dLbl>
              <c:idx val="6"/>
              <c:tx>
                <c:rich>
                  <a:bodyPr/>
                  <a:lstStyle/>
                  <a:p>
                    <a:r>
                      <a:t>450.0</a:t>
                    </a:r>
                  </a:p>
                </c:rich>
              </c:tx>
              <c:showLegendKey val="0"/>
              <c:showVal val="1"/>
              <c:showCatName val="0"/>
              <c:showSerName val="0"/>
              <c:showPercent val="0"/>
              <c:showBubbleSize val="0"/>
            </c:dLbl>
            <c:dLbl>
              <c:idx val="7"/>
              <c:tx>
                <c:rich>
                  <a:bodyPr/>
                  <a:lstStyle/>
                  <a:p>
                    <a:r>
                      <a:t>155.62</a:t>
                    </a:r>
                  </a:p>
                </c:rich>
              </c:tx>
              <c:showLegendKey val="0"/>
              <c:showVal val="1"/>
              <c:showCatName val="0"/>
              <c:showSerName val="0"/>
              <c:showPercent val="0"/>
              <c:showBubbleSize val="0"/>
            </c:dLbl>
            <c:dLbl>
              <c:idx val="8"/>
              <c:tx>
                <c:rich>
                  <a:bodyPr/>
                  <a:lstStyle/>
                  <a:p>
                    <a:r>
                      <a:t>118.11</a:t>
                    </a:r>
                  </a:p>
                </c:rich>
              </c:tx>
              <c:showLegendKey val="0"/>
              <c:showVal val="1"/>
              <c:showCatName val="0"/>
              <c:showSerName val="0"/>
              <c:showPercent val="0"/>
              <c:showBubbleSize val="0"/>
            </c:dLbl>
            <c:dLbl>
              <c:idx val="9"/>
              <c:tx>
                <c:rich>
                  <a:bodyPr/>
                  <a:lstStyle/>
                  <a:p>
                    <a:r>
                      <a:t>178.16</a:t>
                    </a:r>
                  </a:p>
                </c:rich>
              </c:tx>
              <c:showLegendKey val="0"/>
              <c:showVal val="1"/>
              <c:showCatName val="0"/>
              <c:showSerName val="0"/>
              <c:showPercent val="0"/>
              <c:showBubbleSize val="0"/>
            </c:dLbl>
            <c:dLbl>
              <c:idx val="10"/>
              <c:tx>
                <c:rich>
                  <a:bodyPr/>
                  <a:lstStyle/>
                  <a:p>
                    <a:r>
                      <a:t>156.83</a:t>
                    </a:r>
                  </a:p>
                </c:rich>
              </c:tx>
              <c:showLegendKey val="0"/>
              <c:showVal val="1"/>
              <c:showCatName val="0"/>
              <c:showSerName val="0"/>
              <c:showPercent val="0"/>
              <c:showBubbleSize val="0"/>
            </c:dLbl>
            <c:dLbl>
              <c:idx val="11"/>
              <c:tx>
                <c:rich>
                  <a:bodyPr/>
                  <a:lstStyle/>
                  <a:p>
                    <a:r>
                      <a:t>15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Other Sunscreen Adults Cosmetics Crema 50+ 240Ml</c:v>
                </c:pt>
                <c:pt idx="1">
                  <c:v>Edgewell Hawaiian Tropic Baby Sunscreen Baby Cosmetics Crema 50+ 240Ml</c:v>
                </c:pt>
                <c:pt idx="2">
                  <c:v>Beiersdorf Nivea Sunscreen Adults Cosmetics Crema 50+ 200Ml</c:v>
                </c:pt>
                <c:pt idx="3">
                  <c:v>Beiersdorf Nivea Sunscreen Adults Cosmetics Crema 50 50Ml</c:v>
                </c:pt>
                <c:pt idx="4">
                  <c:v>Beiersdorf Nivea Sunscreen Adults Cosmetics Crema 50+ 40Ml</c:v>
                </c:pt>
                <c:pt idx="5">
                  <c:v>Isdin Isdin Sunscreen Adults Derma Crema 50 50Ml</c:v>
                </c:pt>
                <c:pt idx="6">
                  <c:v>Isdin Isdin Sunscreen Adults Derma Crema 50+ 50Ml</c:v>
                </c:pt>
                <c:pt idx="7">
                  <c:v>Others Fabricante Unif. Others Marca Unif. Sunscreen Adults Cosmetics Crema 50+ 125Ml</c:v>
                </c:pt>
                <c:pt idx="8">
                  <c:v>Others Fabricante Unif. Others Marca Unif. Sunscreen Adults Cosmetics Crema 50 100Ml</c:v>
                </c:pt>
                <c:pt idx="9">
                  <c:v>Others Fabricante Unif. Others Marca Unif. Sunscreen Adults Derma Crema 50+ 125Ml</c:v>
                </c:pt>
                <c:pt idx="10">
                  <c:v>Others Fabricante Unif. Others Marca Unif. Sunscreen Kids Derma Crema 50+ 125Ml</c:v>
                </c:pt>
                <c:pt idx="11">
                  <c:v>Others Fabricante Unif. Others Marca Unif. Sunscreen Adults Derma Crema 50+ 60Ml</c:v>
                </c:pt>
              </c:strCache>
            </c:strRef>
          </c:cat>
          <c:val>
            <c:numRef>
              <c:f>Sheet1!$B$2:$B$13</c:f>
              <c:numCache>
                <c:formatCode>General</c:formatCode>
                <c:ptCount val="12"/>
                <c:pt idx="0">
                  <c:v>240.0</c:v>
                </c:pt>
                <c:pt idx="1">
                  <c:v>258.0</c:v>
                </c:pt>
                <c:pt idx="2">
                  <c:v>294.01</c:v>
                </c:pt>
                <c:pt idx="3">
                  <c:v>232.54</c:v>
                </c:pt>
                <c:pt idx="4">
                  <c:v>290.0</c:v>
                </c:pt>
                <c:pt idx="5">
                  <c:v>453.61</c:v>
                </c:pt>
                <c:pt idx="6">
                  <c:v>450.0</c:v>
                </c:pt>
                <c:pt idx="7">
                  <c:v>155.62</c:v>
                </c:pt>
                <c:pt idx="8">
                  <c:v>118.11</c:v>
                </c:pt>
                <c:pt idx="9">
                  <c:v>178.16</c:v>
                </c:pt>
                <c:pt idx="10">
                  <c:v>156.83</c:v>
                </c:pt>
                <c:pt idx="11">
                  <c:v>15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0.09</a:t>
                    </a:r>
                  </a:p>
                </c:rich>
              </c:tx>
              <c:showLegendKey val="0"/>
              <c:showVal val="1"/>
              <c:showCatName val="0"/>
              <c:showSerName val="0"/>
              <c:showPercent val="0"/>
              <c:showBubbleSize val="0"/>
            </c:dLbl>
            <c:dLbl>
              <c:idx val="1"/>
              <c:tx>
                <c:rich>
                  <a:bodyPr/>
                  <a:lstStyle/>
                  <a:p>
                    <a:r>
                      <a:t>96.8</a:t>
                    </a:r>
                  </a:p>
                </c:rich>
              </c:tx>
              <c:showLegendKey val="0"/>
              <c:showVal val="1"/>
              <c:showCatName val="0"/>
              <c:showSerName val="0"/>
              <c:showPercent val="0"/>
              <c:showBubbleSize val="0"/>
            </c:dLbl>
            <c:dLbl>
              <c:idx val="2"/>
              <c:tx>
                <c:rich>
                  <a:bodyPr/>
                  <a:lstStyle/>
                  <a:p>
                    <a:r>
                      <a:t>220.0</a:t>
                    </a:r>
                  </a:p>
                </c:rich>
              </c:tx>
              <c:showLegendKey val="0"/>
              <c:showVal val="1"/>
              <c:showCatName val="0"/>
              <c:showSerName val="0"/>
              <c:showPercent val="0"/>
              <c:showBubbleSize val="0"/>
            </c:dLbl>
            <c:dLbl>
              <c:idx val="3"/>
              <c:tx>
                <c:rich>
                  <a:bodyPr/>
                  <a:lstStyle/>
                  <a:p>
                    <a:r>
                      <a:t>133.0</a:t>
                    </a:r>
                  </a:p>
                </c:rich>
              </c:tx>
              <c:showLegendKey val="0"/>
              <c:showVal val="1"/>
              <c:showCatName val="0"/>
              <c:showSerName val="0"/>
              <c:showPercent val="0"/>
              <c:showBubbleSize val="0"/>
            </c:dLbl>
            <c:dLbl>
              <c:idx val="4"/>
              <c:tx>
                <c:rich>
                  <a:bodyPr/>
                  <a:lstStyle/>
                  <a:p>
                    <a:r>
                      <a:t>188.69</a:t>
                    </a:r>
                  </a:p>
                </c:rich>
              </c:tx>
              <c:showLegendKey val="0"/>
              <c:showVal val="1"/>
              <c:showCatName val="0"/>
              <c:showSerName val="0"/>
              <c:showPercent val="0"/>
              <c:showBubbleSize val="0"/>
            </c:dLbl>
            <c:dLbl>
              <c:idx val="5"/>
              <c:tx>
                <c:rich>
                  <a:bodyPr/>
                  <a:lstStyle/>
                  <a:p>
                    <a:r>
                      <a:t>295.0</a:t>
                    </a:r>
                  </a:p>
                </c:rich>
              </c:tx>
              <c:showLegendKey val="0"/>
              <c:showVal val="1"/>
              <c:showCatName val="0"/>
              <c:showSerName val="0"/>
              <c:showPercent val="0"/>
              <c:showBubbleSize val="0"/>
            </c:dLbl>
            <c:dLbl>
              <c:idx val="6"/>
              <c:tx>
                <c:rich>
                  <a:bodyPr/>
                  <a:lstStyle/>
                  <a:p>
                    <a:r>
                      <a:t>362.53</a:t>
                    </a:r>
                  </a:p>
                </c:rich>
              </c:tx>
              <c:showLegendKey val="0"/>
              <c:showVal val="1"/>
              <c:showCatName val="0"/>
              <c:showSerName val="0"/>
              <c:showPercent val="0"/>
              <c:showBubbleSize val="0"/>
            </c:dLbl>
            <c:dLbl>
              <c:idx val="7"/>
              <c:tx>
                <c:rich>
                  <a:bodyPr/>
                  <a:lstStyle/>
                  <a:p>
                    <a:r>
                      <a:t>169.73</a:t>
                    </a:r>
                  </a:p>
                </c:rich>
              </c:tx>
              <c:showLegendKey val="0"/>
              <c:showVal val="1"/>
              <c:showCatName val="0"/>
              <c:showSerName val="0"/>
              <c:showPercent val="0"/>
              <c:showBubbleSize val="0"/>
            </c:dLbl>
            <c:dLbl>
              <c:idx val="8"/>
              <c:tx>
                <c:rich>
                  <a:bodyPr/>
                  <a:lstStyle/>
                  <a:p>
                    <a:r>
                      <a:t>240.16</a:t>
                    </a:r>
                  </a:p>
                </c:rich>
              </c:tx>
              <c:showLegendKey val="0"/>
              <c:showVal val="1"/>
              <c:showCatName val="0"/>
              <c:showSerName val="0"/>
              <c:showPercent val="0"/>
              <c:showBubbleSize val="0"/>
            </c:dLbl>
            <c:dLbl>
              <c:idx val="9"/>
              <c:tx>
                <c:rich>
                  <a:bodyPr/>
                  <a:lstStyle/>
                  <a:p>
                    <a:r>
                      <a:t>9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Island Sport Sunscreen Adults Sport Liquido 50 60Ml</c:v>
                </c:pt>
                <c:pt idx="1">
                  <c:v>Edgewell Banana Boat Advanced Protection Sunscreen Adults Cosmetics Liquido 50+ 60Ml</c:v>
                </c:pt>
                <c:pt idx="2">
                  <c:v>Edgewell Hawaiian Tropic Island Sport Sunscreen Adults Sport Spray Liquido 50 220Ml</c:v>
                </c:pt>
                <c:pt idx="3">
                  <c:v>Edgewell Hawaiian Tropic Sheer Touch Sunscreen Adults Cosmetics Liquido 30 - 49 60Ml</c:v>
                </c:pt>
                <c:pt idx="4">
                  <c:v>Beiersdorf Nivea Sunscreen Adults Cosmetics Liquido 50+ 125Ml</c:v>
                </c:pt>
                <c:pt idx="5">
                  <c:v>Beiersdorf Nivea Sunscreen Kids Cosmetics Liquido 50+ 200Ml</c:v>
                </c:pt>
                <c:pt idx="6">
                  <c:v>Beiersdorf Nivea Sunscreen Adults Cosmetics Spray Liquido 50 200Ml</c:v>
                </c:pt>
                <c:pt idx="7">
                  <c:v>Beiersdorf Nivea Sunscreen Kids Cosmetics Liquido 50+ 125Ml</c:v>
                </c:pt>
                <c:pt idx="8">
                  <c:v>Beiersdorf Nivea Sunscreen Adults Cosmetics Liquido 50 200Ml</c:v>
                </c:pt>
                <c:pt idx="9">
                  <c:v>Others Fabricante Unif. Others Marca Unif. Sunscreen Adults Cosmetics Spray Liquido 50+ 50Ml</c:v>
                </c:pt>
              </c:strCache>
            </c:strRef>
          </c:cat>
          <c:val>
            <c:numRef>
              <c:f>Sheet1!$B$2:$B$11</c:f>
              <c:numCache>
                <c:formatCode>General</c:formatCode>
                <c:ptCount val="10"/>
                <c:pt idx="0">
                  <c:v>70.09</c:v>
                </c:pt>
                <c:pt idx="1">
                  <c:v>96.8</c:v>
                </c:pt>
                <c:pt idx="2">
                  <c:v>220.0</c:v>
                </c:pt>
                <c:pt idx="3">
                  <c:v>133.0</c:v>
                </c:pt>
                <c:pt idx="4">
                  <c:v>188.69</c:v>
                </c:pt>
                <c:pt idx="5">
                  <c:v>295.0</c:v>
                </c:pt>
                <c:pt idx="6">
                  <c:v>362.53</c:v>
                </c:pt>
                <c:pt idx="7">
                  <c:v>169.73</c:v>
                </c:pt>
                <c:pt idx="8">
                  <c:v>240.16</c:v>
                </c:pt>
                <c:pt idx="9">
                  <c:v>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4.59</a:t>
                    </a:r>
                  </a:p>
                </c:rich>
              </c:tx>
              <c:showLegendKey val="0"/>
              <c:showVal val="1"/>
              <c:showCatName val="0"/>
              <c:showSerName val="0"/>
              <c:showPercent val="0"/>
              <c:showBubbleSize val="0"/>
            </c:dLbl>
            <c:dLbl>
              <c:idx val="1"/>
              <c:tx>
                <c:rich>
                  <a:bodyPr/>
                  <a:lstStyle/>
                  <a:p>
                    <a:r>
                      <a:t>205.93</a:t>
                    </a:r>
                  </a:p>
                </c:rich>
              </c:tx>
              <c:showLegendKey val="0"/>
              <c:showVal val="1"/>
              <c:showCatName val="0"/>
              <c:showSerName val="0"/>
              <c:showPercent val="0"/>
              <c:showBubbleSize val="0"/>
            </c:dLbl>
            <c:dLbl>
              <c:idx val="2"/>
              <c:tx>
                <c:rich>
                  <a:bodyPr/>
                  <a:lstStyle/>
                  <a:p>
                    <a:r>
                      <a:t>12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Mineral Sunscreen Adults Cosmetics Locion 50 60Ml</c:v>
                </c:pt>
                <c:pt idx="1">
                  <c:v>Edgewell Banana Boat Banded Pack Banded Pack 2X Sunscreen Multi 50+ 170Ml</c:v>
                </c:pt>
                <c:pt idx="2">
                  <c:v>Edgewell Banana Boat Gentle Protect Sunscreen Adults Cosmetics Locion 50 180Ml</c:v>
                </c:pt>
              </c:strCache>
            </c:strRef>
          </c:cat>
          <c:val>
            <c:numRef>
              <c:f>Sheet1!$B$2:$B$4</c:f>
              <c:numCache>
                <c:formatCode>General</c:formatCode>
                <c:ptCount val="3"/>
                <c:pt idx="0">
                  <c:v>234.59</c:v>
                </c:pt>
                <c:pt idx="1">
                  <c:v>205.93</c:v>
                </c:pt>
                <c:pt idx="2">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14</a:t>
                    </a:r>
                  </a:p>
                </c:rich>
              </c:tx>
              <c:showLegendKey val="0"/>
              <c:showVal val="1"/>
              <c:showCatName val="0"/>
              <c:showSerName val="0"/>
              <c:showPercent val="0"/>
              <c:showBubbleSize val="0"/>
            </c:dLbl>
            <c:dLbl>
              <c:idx val="1"/>
              <c:tx>
                <c:rich>
                  <a:bodyPr/>
                  <a:lstStyle/>
                  <a:p>
                    <a:r>
                      <a:t>281.61</a:t>
                    </a:r>
                  </a:p>
                </c:rich>
              </c:tx>
              <c:showLegendKey val="0"/>
              <c:showVal val="1"/>
              <c:showCatName val="0"/>
              <c:showSerName val="0"/>
              <c:showPercent val="0"/>
              <c:showBubbleSize val="0"/>
            </c:dLbl>
            <c:dLbl>
              <c:idx val="2"/>
              <c:tx>
                <c:rich>
                  <a:bodyPr/>
                  <a:lstStyle/>
                  <a:p>
                    <a:r>
                      <a:t>290.34</a:t>
                    </a:r>
                  </a:p>
                </c:rich>
              </c:tx>
              <c:showLegendKey val="0"/>
              <c:showVal val="1"/>
              <c:showCatName val="0"/>
              <c:showSerName val="0"/>
              <c:showPercent val="0"/>
              <c:showBubbleSize val="0"/>
            </c:dLbl>
            <c:dLbl>
              <c:idx val="3"/>
              <c:tx>
                <c:rich>
                  <a:bodyPr/>
                  <a:lstStyle/>
                  <a:p>
                    <a:r>
                      <a:t>189.54</a:t>
                    </a:r>
                  </a:p>
                </c:rich>
              </c:tx>
              <c:showLegendKey val="0"/>
              <c:showVal val="1"/>
              <c:showCatName val="0"/>
              <c:showSerName val="0"/>
              <c:showPercent val="0"/>
              <c:showBubbleSize val="0"/>
            </c:dLbl>
            <c:dLbl>
              <c:idx val="4"/>
              <c:tx>
                <c:rich>
                  <a:bodyPr/>
                  <a:lstStyle/>
                  <a:p>
                    <a:r>
                      <a:t>300.48</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271.03</a:t>
                    </a:r>
                  </a:p>
                </c:rich>
              </c:tx>
              <c:showLegendKey val="0"/>
              <c:showVal val="1"/>
              <c:showCatName val="0"/>
              <c:showSerName val="0"/>
              <c:showPercent val="0"/>
              <c:showBubbleSize val="0"/>
            </c:dLbl>
            <c:dLbl>
              <c:idx val="8"/>
              <c:tx>
                <c:rich>
                  <a:bodyPr/>
                  <a:lstStyle/>
                  <a:p>
                    <a:r>
                      <a:t>254.56</a:t>
                    </a:r>
                  </a:p>
                </c:rich>
              </c:tx>
              <c:showLegendKey val="0"/>
              <c:showVal val="1"/>
              <c:showCatName val="0"/>
              <c:showSerName val="0"/>
              <c:showPercent val="0"/>
              <c:showBubbleSize val="0"/>
            </c:dLbl>
            <c:dLbl>
              <c:idx val="9"/>
              <c:tx>
                <c:rich>
                  <a:bodyPr/>
                  <a:lstStyle/>
                  <a:p>
                    <a:r>
                      <a:t>674.42</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592.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Banana Boat Aqua Protect Sunscreen Adults Sport Crema 50+ 236Ml</c:v>
                </c:pt>
                <c:pt idx="2">
                  <c:v>Edgewell Banana Boat Aqua Protect Sunscreen Adults Cosmetics Crema 50+ 236Ml</c:v>
                </c:pt>
                <c:pt idx="3">
                  <c:v>Edgewell Hawaiian Tropic Sheer Touch Sunscreen Adults Cosmetics Crema 50 120Ml</c:v>
                </c:pt>
                <c:pt idx="4">
                  <c:v>Edgewell Hawaiian Tropic Sheer Touch Sunscreen Adults Cosmetics Crema 30 - 49 240Ml</c:v>
                </c:pt>
                <c:pt idx="5">
                  <c:v>Beiersdorf Nivea Sunscreen Adults Cosmetics Crema 50+ 200Ml</c:v>
                </c:pt>
                <c:pt idx="6">
                  <c:v>Beiersdorf Nivea Sunscreen Adults Cosmetics Crema 50 50Ml</c:v>
                </c:pt>
                <c:pt idx="7">
                  <c:v>Beiersdorf Nivea Sunscreen Adults Cosmetics Crema 50+ 40Ml</c:v>
                </c:pt>
                <c:pt idx="8">
                  <c:v>Beiersdorf Nivea Sunscreen Adults Cosmetics Crema 50+ 50Ml</c:v>
                </c:pt>
                <c:pt idx="9">
                  <c:v>Beiersdorf Eucerin Sunscreen Adults Derma Crema 50+ 5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nan</c:v>
                </c:pt>
              </c:strCache>
            </c:strRef>
          </c:cat>
          <c:val>
            <c:numRef>
              <c:f>Sheet1!$B$2:$B$16</c:f>
              <c:numCache>
                <c:formatCode>General</c:formatCode>
                <c:ptCount val="15"/>
                <c:pt idx="0">
                  <c:v>312.14</c:v>
                </c:pt>
                <c:pt idx="1">
                  <c:v>281.61</c:v>
                </c:pt>
                <c:pt idx="2">
                  <c:v>290.34</c:v>
                </c:pt>
                <c:pt idx="3">
                  <c:v>189.54</c:v>
                </c:pt>
                <c:pt idx="4">
                  <c:v>300.48</c:v>
                </c:pt>
                <c:pt idx="5">
                  <c:v>305.54</c:v>
                </c:pt>
                <c:pt idx="6">
                  <c:v>271.17</c:v>
                </c:pt>
                <c:pt idx="7">
                  <c:v>271.03</c:v>
                </c:pt>
                <c:pt idx="8">
                  <c:v>254.56</c:v>
                </c:pt>
                <c:pt idx="9">
                  <c:v>674.42</c:v>
                </c:pt>
                <c:pt idx="10">
                  <c:v>379.06</c:v>
                </c:pt>
                <c:pt idx="11">
                  <c:v>364.11</c:v>
                </c:pt>
                <c:pt idx="12">
                  <c:v>268.43</c:v>
                </c:pt>
                <c:pt idx="13">
                  <c:v>463.05</c:v>
                </c:pt>
                <c:pt idx="14">
                  <c:v>592.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74</a:t>
                    </a:r>
                  </a:p>
                </c:rich>
              </c:tx>
              <c:showLegendKey val="0"/>
              <c:showVal val="1"/>
              <c:showCatName val="0"/>
              <c:showSerName val="0"/>
              <c:showPercent val="0"/>
              <c:showBubbleSize val="0"/>
            </c:dLbl>
            <c:dLbl>
              <c:idx val="1"/>
              <c:tx>
                <c:rich>
                  <a:bodyPr/>
                  <a:lstStyle/>
                  <a:p>
                    <a:r>
                      <a:t>306.26</a:t>
                    </a:r>
                  </a:p>
                </c:rich>
              </c:tx>
              <c:showLegendKey val="0"/>
              <c:showVal val="1"/>
              <c:showCatName val="0"/>
              <c:showSerName val="0"/>
              <c:showPercent val="0"/>
              <c:showBubbleSize val="0"/>
            </c:dLbl>
            <c:dLbl>
              <c:idx val="2"/>
              <c:tx>
                <c:rich>
                  <a:bodyPr/>
                  <a:lstStyle/>
                  <a:p>
                    <a:r>
                      <a:t>618.9</a:t>
                    </a:r>
                  </a:p>
                </c:rich>
              </c:tx>
              <c:showLegendKey val="0"/>
              <c:showVal val="1"/>
              <c:showCatName val="0"/>
              <c:showSerName val="0"/>
              <c:showPercent val="0"/>
              <c:showBubbleSize val="0"/>
            </c:dLbl>
            <c:dLbl>
              <c:idx val="3"/>
              <c:tx>
                <c:rich>
                  <a:bodyPr/>
                  <a:lstStyle/>
                  <a:p>
                    <a:r>
                      <a:t>645.72</a:t>
                    </a:r>
                  </a:p>
                </c:rich>
              </c:tx>
              <c:showLegendKey val="0"/>
              <c:showVal val="1"/>
              <c:showCatName val="0"/>
              <c:showSerName val="0"/>
              <c:showPercent val="0"/>
              <c:showBubbleSize val="0"/>
            </c:dLbl>
            <c:dLbl>
              <c:idx val="4"/>
              <c:tx>
                <c:rich>
                  <a:bodyPr/>
                  <a:lstStyle/>
                  <a:p>
                    <a:r>
                      <a:t>596.91</a:t>
                    </a:r>
                  </a:p>
                </c:rich>
              </c:tx>
              <c:showLegendKey val="0"/>
              <c:showVal val="1"/>
              <c:showCatName val="0"/>
              <c:showSerName val="0"/>
              <c:showPercent val="0"/>
              <c:showBubbleSize val="0"/>
            </c:dLbl>
            <c:dLbl>
              <c:idx val="5"/>
              <c:tx>
                <c:rich>
                  <a:bodyPr/>
                  <a:lstStyle/>
                  <a:p>
                    <a:r>
                      <a:t>655.84</a:t>
                    </a:r>
                  </a:p>
                </c:rich>
              </c:tx>
              <c:showLegendKey val="0"/>
              <c:showVal val="1"/>
              <c:showCatName val="0"/>
              <c:showSerName val="0"/>
              <c:showPercent val="0"/>
              <c:showBubbleSize val="0"/>
            </c:dLbl>
            <c:dLbl>
              <c:idx val="6"/>
              <c:tx>
                <c:rich>
                  <a:bodyPr/>
                  <a:lstStyle/>
                  <a:p>
                    <a:r>
                      <a:t>546.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Beiersdorf Nivea Sunscreen Adults Cosmetics Fluido 50+ 40Ml</c:v>
                </c:pt>
                <c:pt idx="2">
                  <c:v>L'Oreal La Roche-Posay Sunscreen Adults Derma Fluido 50+ 50Ml</c:v>
                </c:pt>
                <c:pt idx="3">
                  <c:v>Isdin Isdin Sunscreen Adults Derma Fluido 50+ 50Ml</c:v>
                </c:pt>
                <c:pt idx="4">
                  <c:v>Beiersdorf Eucerin Sunscreen Adults Derma Fluido 50+ 50Ml</c:v>
                </c:pt>
                <c:pt idx="5">
                  <c:v>Isdin Isdin Sunscreen Baby Derma Fluido 50 50Ml</c:v>
                </c:pt>
                <c:pt idx="6">
                  <c:v>L'Oreal La Roche-Posay Sunscreen Kids Derma Fluido 50+ 50Ml</c:v>
                </c:pt>
              </c:strCache>
            </c:strRef>
          </c:cat>
          <c:val>
            <c:numRef>
              <c:f>Sheet1!$B$2:$B$8</c:f>
              <c:numCache>
                <c:formatCode>General</c:formatCode>
                <c:ptCount val="7"/>
                <c:pt idx="0">
                  <c:v>294.74</c:v>
                </c:pt>
                <c:pt idx="1">
                  <c:v>306.26</c:v>
                </c:pt>
                <c:pt idx="2">
                  <c:v>618.9</c:v>
                </c:pt>
                <c:pt idx="3">
                  <c:v>645.72</c:v>
                </c:pt>
                <c:pt idx="4">
                  <c:v>596.91</c:v>
                </c:pt>
                <c:pt idx="5">
                  <c:v>655.84</c:v>
                </c:pt>
                <c:pt idx="6">
                  <c:v>546.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05.29</a:t>
                    </a:r>
                  </a:p>
                </c:rich>
              </c:tx>
              <c:showLegendKey val="0"/>
              <c:showVal val="1"/>
              <c:showCatName val="0"/>
              <c:showSerName val="0"/>
              <c:showPercent val="0"/>
              <c:showBubbleSize val="0"/>
            </c:dLbl>
            <c:dLbl>
              <c:idx val="2"/>
              <c:tx>
                <c:rich>
                  <a:bodyPr/>
                  <a:lstStyle/>
                  <a:p>
                    <a:r>
                      <a:t>311.93</a:t>
                    </a:r>
                  </a:p>
                </c:rich>
              </c:tx>
              <c:showLegendKey val="0"/>
              <c:showVal val="1"/>
              <c:showCatName val="0"/>
              <c:showSerName val="0"/>
              <c:showPercent val="0"/>
              <c:showBubbleSize val="0"/>
            </c:dLbl>
            <c:dLbl>
              <c:idx val="3"/>
              <c:tx>
                <c:rich>
                  <a:bodyPr/>
                  <a:lstStyle/>
                  <a:p>
                    <a:r>
                      <a:t>101.15</a:t>
                    </a:r>
                  </a:p>
                </c:rich>
              </c:tx>
              <c:showLegendKey val="0"/>
              <c:showVal val="1"/>
              <c:showCatName val="0"/>
              <c:showSerName val="0"/>
              <c:showPercent val="0"/>
              <c:showBubbleSize val="0"/>
            </c:dLbl>
            <c:dLbl>
              <c:idx val="4"/>
              <c:tx>
                <c:rich>
                  <a:bodyPr/>
                  <a:lstStyle/>
                  <a:p>
                    <a:r>
                      <a:t>330.69</a:t>
                    </a:r>
                  </a:p>
                </c:rich>
              </c:tx>
              <c:showLegendKey val="0"/>
              <c:showVal val="1"/>
              <c:showCatName val="0"/>
              <c:showSerName val="0"/>
              <c:showPercent val="0"/>
              <c:showBubbleSize val="0"/>
            </c:dLbl>
            <c:dLbl>
              <c:idx val="5"/>
              <c:tx>
                <c:rich>
                  <a:bodyPr/>
                  <a:lstStyle/>
                  <a:p>
                    <a:r>
                      <a:t>300.61</a:t>
                    </a:r>
                  </a:p>
                </c:rich>
              </c:tx>
              <c:showLegendKey val="0"/>
              <c:showVal val="1"/>
              <c:showCatName val="0"/>
              <c:showSerName val="0"/>
              <c:showPercent val="0"/>
              <c:showBubbleSize val="0"/>
            </c:dLbl>
            <c:dLbl>
              <c:idx val="6"/>
              <c:tx>
                <c:rich>
                  <a:bodyPr/>
                  <a:lstStyle/>
                  <a:p>
                    <a:r>
                      <a:t>187.84</a:t>
                    </a:r>
                  </a:p>
                </c:rich>
              </c:tx>
              <c:showLegendKey val="0"/>
              <c:showVal val="1"/>
              <c:showCatName val="0"/>
              <c:showSerName val="0"/>
              <c:showPercent val="0"/>
              <c:showBubbleSize val="0"/>
            </c:dLbl>
            <c:dLbl>
              <c:idx val="7"/>
              <c:tx>
                <c:rich>
                  <a:bodyPr/>
                  <a:lstStyle/>
                  <a:p>
                    <a:r>
                      <a:t>336.44</a:t>
                    </a:r>
                  </a:p>
                </c:rich>
              </c:tx>
              <c:showLegendKey val="0"/>
              <c:showVal val="1"/>
              <c:showCatName val="0"/>
              <c:showSerName val="0"/>
              <c:showPercent val="0"/>
              <c:showBubbleSize val="0"/>
            </c:dLbl>
            <c:dLbl>
              <c:idx val="8"/>
              <c:tx>
                <c:rich>
                  <a:bodyPr/>
                  <a:lstStyle/>
                  <a:p>
                    <a:r>
                      <a:t>292.55</a:t>
                    </a:r>
                  </a:p>
                </c:rich>
              </c:tx>
              <c:showLegendKey val="0"/>
              <c:showVal val="1"/>
              <c:showCatName val="0"/>
              <c:showSerName val="0"/>
              <c:showPercent val="0"/>
              <c:showBubbleSize val="0"/>
            </c:dLbl>
            <c:dLbl>
              <c:idx val="9"/>
              <c:tx>
                <c:rich>
                  <a:bodyPr/>
                  <a:lstStyle/>
                  <a:p>
                    <a:r>
                      <a:t>266.76</a:t>
                    </a:r>
                  </a:p>
                </c:rich>
              </c:tx>
              <c:showLegendKey val="0"/>
              <c:showVal val="1"/>
              <c:showCatName val="0"/>
              <c:showSerName val="0"/>
              <c:showPercent val="0"/>
              <c:showBubbleSize val="0"/>
            </c:dLbl>
            <c:dLbl>
              <c:idx val="10"/>
              <c:tx>
                <c:rich>
                  <a:bodyPr/>
                  <a:lstStyle/>
                  <a:p>
                    <a:r>
                      <a:t>325.47</a:t>
                    </a:r>
                  </a:p>
                </c:rich>
              </c:tx>
              <c:showLegendKey val="0"/>
              <c:showVal val="1"/>
              <c:showCatName val="0"/>
              <c:showSerName val="0"/>
              <c:showPercent val="0"/>
              <c:showBubbleSize val="0"/>
            </c:dLbl>
            <c:dLbl>
              <c:idx val="11"/>
              <c:tx>
                <c:rich>
                  <a:bodyPr/>
                  <a:lstStyle/>
                  <a:p>
                    <a:r>
                      <a:t>958.62</a:t>
                    </a:r>
                  </a:p>
                </c:rich>
              </c:tx>
              <c:showLegendKey val="0"/>
              <c:showVal val="1"/>
              <c:showCatName val="0"/>
              <c:showSerName val="0"/>
              <c:showPercent val="0"/>
              <c:showBubbleSize val="0"/>
            </c:dLbl>
            <c:dLbl>
              <c:idx val="12"/>
              <c:tx>
                <c:rich>
                  <a:bodyPr/>
                  <a:lstStyle/>
                  <a:p>
                    <a:r>
                      <a:t>450.47</a:t>
                    </a:r>
                  </a:p>
                </c:rich>
              </c:tx>
              <c:showLegendKey val="0"/>
              <c:showVal val="1"/>
              <c:showCatName val="0"/>
              <c:showSerName val="0"/>
              <c:showPercent val="0"/>
              <c:showBubbleSize val="0"/>
            </c:dLbl>
            <c:dLbl>
              <c:idx val="13"/>
              <c:tx>
                <c:rich>
                  <a:bodyPr/>
                  <a:lstStyle/>
                  <a:p>
                    <a:r>
                      <a:t>638.88</a:t>
                    </a:r>
                  </a:p>
                </c:rich>
              </c:tx>
              <c:showLegendKey val="0"/>
              <c:showVal val="1"/>
              <c:showCatName val="0"/>
              <c:showSerName val="0"/>
              <c:showPercent val="0"/>
              <c:showBubbleSize val="0"/>
            </c:dLbl>
            <c:dLbl>
              <c:idx val="14"/>
              <c:tx>
                <c:rich>
                  <a:bodyPr/>
                  <a:lstStyle/>
                  <a:p>
                    <a:r>
                      <a:t>734.5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Dry Balance Sunscreen Adults Sport Spray Liquido 50 220Ml</c:v>
                </c:pt>
                <c:pt idx="3">
                  <c:v>Edgewell Hawaiian Tropic Ozono Sunscreen Adults Cosmetics Liquido 50+ 90Ml</c:v>
                </c:pt>
                <c:pt idx="4">
                  <c:v>Edgewell Hawaiian Tropic Ozono Sunscreen Adults Cosmetics Spray Liquido 50+ 180Ml</c:v>
                </c:pt>
                <c:pt idx="5">
                  <c:v>Beiersdorf Nivea Sunscreen Adults Cosmetics Liquido 50 200Ml</c:v>
                </c:pt>
                <c:pt idx="6">
                  <c:v>Beiersdorf Nivea Sunscreen Adults Cosmetics Liquido 50+ 125Ml</c:v>
                </c:pt>
                <c:pt idx="7">
                  <c:v>Beiersdorf Nivea Sunscreen Adults Cosmetics Spray Liquido 50 200Ml</c:v>
                </c:pt>
                <c:pt idx="8">
                  <c:v>Beiersdorf Nivea Sunscreen Kids Cosmetics Liquido 50+ 200Ml</c:v>
                </c:pt>
                <c:pt idx="9">
                  <c:v>Beiersdorf Nivea Sunscreen Adults Cosmetics Liquido 30 - 49 200Ml</c:v>
                </c:pt>
                <c:pt idx="10">
                  <c:v>L'Oreal Loreal Paris Sunscreen Adults Derma Liquido 50+ 40Ml</c:v>
                </c:pt>
                <c:pt idx="11">
                  <c:v>L'Oreal La Roche-Posay Sunscreen Kids Derma Liquido 50+ 250Ml</c:v>
                </c:pt>
                <c:pt idx="12">
                  <c:v>L'Oreal La Roche-Posay Sunscreen Baby Derma Liquido 50+ 75Ml</c:v>
                </c:pt>
                <c:pt idx="13">
                  <c:v>L'Oreal La Roche-Posay Sunscreen Adults Derma Liquido 50+ 50Ml</c:v>
                </c:pt>
                <c:pt idx="14">
                  <c:v>L'Oreal Vichy Sunscreen Adults Derma Spray Liquido 50+ 200Ml</c:v>
                </c:pt>
              </c:strCache>
            </c:strRef>
          </c:cat>
          <c:val>
            <c:numRef>
              <c:f>Sheet1!$B$2:$B$16</c:f>
              <c:numCache>
                <c:formatCode>General</c:formatCode>
                <c:ptCount val="15"/>
                <c:pt idx="0">
                  <c:v>305.1</c:v>
                </c:pt>
                <c:pt idx="1">
                  <c:v>305.29</c:v>
                </c:pt>
                <c:pt idx="2">
                  <c:v>311.93</c:v>
                </c:pt>
                <c:pt idx="3">
                  <c:v>101.15</c:v>
                </c:pt>
                <c:pt idx="4">
                  <c:v>330.69</c:v>
                </c:pt>
                <c:pt idx="5">
                  <c:v>300.61</c:v>
                </c:pt>
                <c:pt idx="6">
                  <c:v>187.84</c:v>
                </c:pt>
                <c:pt idx="7">
                  <c:v>336.44</c:v>
                </c:pt>
                <c:pt idx="8">
                  <c:v>292.55</c:v>
                </c:pt>
                <c:pt idx="9">
                  <c:v>266.76</c:v>
                </c:pt>
                <c:pt idx="10">
                  <c:v>325.47</c:v>
                </c:pt>
                <c:pt idx="11">
                  <c:v>958.62</c:v>
                </c:pt>
                <c:pt idx="12">
                  <c:v>450.47</c:v>
                </c:pt>
                <c:pt idx="13">
                  <c:v>638.88</c:v>
                </c:pt>
                <c:pt idx="14">
                  <c:v>734.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6.59</a:t>
                    </a:r>
                  </a:p>
                </c:rich>
              </c:tx>
              <c:showLegendKey val="0"/>
              <c:showVal val="1"/>
              <c:showCatName val="0"/>
              <c:showSerName val="0"/>
              <c:showPercent val="0"/>
              <c:showBubbleSize val="0"/>
            </c:dLbl>
            <c:dLbl>
              <c:idx val="1"/>
              <c:tx>
                <c:rich>
                  <a:bodyPr/>
                  <a:lstStyle/>
                  <a:p>
                    <a:r>
                      <a:t>268.26</a:t>
                    </a:r>
                  </a:p>
                </c:rich>
              </c:tx>
              <c:showLegendKey val="0"/>
              <c:showVal val="1"/>
              <c:showCatName val="0"/>
              <c:showSerName val="0"/>
              <c:showPercent val="0"/>
              <c:showBubbleSize val="0"/>
            </c:dLbl>
            <c:dLbl>
              <c:idx val="2"/>
              <c:tx>
                <c:rich>
                  <a:bodyPr/>
                  <a:lstStyle/>
                  <a:p>
                    <a:r>
                      <a:t>317.01</a:t>
                    </a:r>
                  </a:p>
                </c:rich>
              </c:tx>
              <c:showLegendKey val="0"/>
              <c:showVal val="1"/>
              <c:showCatName val="0"/>
              <c:showSerName val="0"/>
              <c:showPercent val="0"/>
              <c:showBubbleSize val="0"/>
            </c:dLbl>
            <c:dLbl>
              <c:idx val="3"/>
              <c:tx>
                <c:rich>
                  <a:bodyPr/>
                  <a:lstStyle/>
                  <a:p>
                    <a:r>
                      <a:t>316.77</a:t>
                    </a:r>
                  </a:p>
                </c:rich>
              </c:tx>
              <c:showLegendKey val="0"/>
              <c:showVal val="1"/>
              <c:showCatName val="0"/>
              <c:showSerName val="0"/>
              <c:showPercent val="0"/>
              <c:showBubbleSize val="0"/>
            </c:dLbl>
            <c:dLbl>
              <c:idx val="4"/>
              <c:tx>
                <c:rich>
                  <a:bodyPr/>
                  <a:lstStyle/>
                  <a:p>
                    <a:r>
                      <a:t>318.71</a:t>
                    </a:r>
                  </a:p>
                </c:rich>
              </c:tx>
              <c:showLegendKey val="0"/>
              <c:showVal val="1"/>
              <c:showCatName val="0"/>
              <c:showSerName val="0"/>
              <c:showPercent val="0"/>
              <c:showBubbleSize val="0"/>
            </c:dLbl>
            <c:dLbl>
              <c:idx val="5"/>
              <c:tx>
                <c:rich>
                  <a:bodyPr/>
                  <a:lstStyle/>
                  <a:p>
                    <a:r>
                      <a:t>284.34</a:t>
                    </a:r>
                  </a:p>
                </c:rich>
              </c:tx>
              <c:showLegendKey val="0"/>
              <c:showVal val="1"/>
              <c:showCatName val="0"/>
              <c:showSerName val="0"/>
              <c:showPercent val="0"/>
              <c:showBubbleSize val="0"/>
            </c:dLbl>
            <c:dLbl>
              <c:idx val="6"/>
              <c:tx>
                <c:rich>
                  <a:bodyPr/>
                  <a:lstStyle/>
                  <a:p>
                    <a:r>
                      <a:t>282.23</a:t>
                    </a:r>
                  </a:p>
                </c:rich>
              </c:tx>
              <c:showLegendKey val="0"/>
              <c:showVal val="1"/>
              <c:showCatName val="0"/>
              <c:showSerName val="0"/>
              <c:showPercent val="0"/>
              <c:showBubbleSize val="0"/>
            </c:dLbl>
            <c:dLbl>
              <c:idx val="7"/>
              <c:tx>
                <c:rich>
                  <a:bodyPr/>
                  <a:lstStyle/>
                  <a:p>
                    <a:r>
                      <a:t>270.0</a:t>
                    </a:r>
                  </a:p>
                </c:rich>
              </c:tx>
              <c:showLegendKey val="0"/>
              <c:showVal val="1"/>
              <c:showCatName val="0"/>
              <c:showSerName val="0"/>
              <c:showPercent val="0"/>
              <c:showBubbleSize val="0"/>
            </c:dLbl>
            <c:dLbl>
              <c:idx val="8"/>
              <c:tx>
                <c:rich>
                  <a:bodyPr/>
                  <a:lstStyle/>
                  <a:p>
                    <a:r>
                      <a:t>308.31</a:t>
                    </a:r>
                  </a:p>
                </c:rich>
              </c:tx>
              <c:showLegendKey val="0"/>
              <c:showVal val="1"/>
              <c:showCatName val="0"/>
              <c:showSerName val="0"/>
              <c:showPercent val="0"/>
              <c:showBubbleSize val="0"/>
            </c:dLbl>
            <c:dLbl>
              <c:idx val="9"/>
              <c:tx>
                <c:rich>
                  <a:bodyPr/>
                  <a:lstStyle/>
                  <a:p>
                    <a:r>
                      <a:t>195.0</a:t>
                    </a:r>
                  </a:p>
                </c:rich>
              </c:tx>
              <c:showLegendKey val="0"/>
              <c:showVal val="1"/>
              <c:showCatName val="0"/>
              <c:showSerName val="0"/>
              <c:showPercent val="0"/>
              <c:showBubbleSize val="0"/>
            </c:dLbl>
            <c:dLbl>
              <c:idx val="10"/>
              <c:tx>
                <c:rich>
                  <a:bodyPr/>
                  <a:lstStyle/>
                  <a:p>
                    <a:r>
                      <a:t>250.0</a:t>
                    </a:r>
                  </a:p>
                </c:rich>
              </c:tx>
              <c:showLegendKey val="0"/>
              <c:showVal val="1"/>
              <c:showCatName val="0"/>
              <c:showSerName val="0"/>
              <c:showPercent val="0"/>
              <c:showBubbleSize val="0"/>
            </c:dLbl>
            <c:dLbl>
              <c:idx val="11"/>
              <c:tx>
                <c:rich>
                  <a:bodyPr/>
                  <a:lstStyle/>
                  <a:p>
                    <a:r>
                      <a:t>1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Banded Pack Banded Pack 2X Sunscreen Multi 50+ 170Ml</c:v>
                </c:pt>
                <c:pt idx="1">
                  <c:v>Edgewell Banana Boat Banded Pack Banded Pack 2X Sunscreen Multi 50+ 236Ml</c:v>
                </c:pt>
                <c:pt idx="2">
                  <c:v>Edgewell Banana Boat Mineral Sunscreen Adults Cosmetics Locion 50 180Ml</c:v>
                </c:pt>
                <c:pt idx="3">
                  <c:v>Edgewell Banana Boat Mineral Sunscreen Kids Cosmetics Locion 50 180Ml</c:v>
                </c:pt>
                <c:pt idx="4">
                  <c:v>Edgewell Banana Boat Mineral Sunscreen Adults Sport Locion 50 180Ml</c:v>
                </c:pt>
                <c:pt idx="5">
                  <c:v>Glaxosmithkline Eclipsol Sunscreen Adults Derma Locion 50+ 60Ml</c:v>
                </c:pt>
                <c:pt idx="6">
                  <c:v>Glaxosmithkline Eclipsol Sunscreen Kids Derma Locion 50+ 60Ml</c:v>
                </c:pt>
                <c:pt idx="7">
                  <c:v>Sun &amp; Skin Care Research No-Ad Sunscreen Adults Cosmetics Locion 50+ 250Ml</c:v>
                </c:pt>
                <c:pt idx="8">
                  <c:v>Sun &amp; Skin Care Research Ocean Potion Sunscreen Adults Cosmetics Locion 50 201Ml</c:v>
                </c:pt>
                <c:pt idx="9">
                  <c:v>Sun &amp; Skin Care Research No-Ad Sunscreen Adults Cosmetics Locion 50+ 89Ml</c:v>
                </c:pt>
                <c:pt idx="10">
                  <c:v>Sun &amp; Skin Care Research No-Ad Sunscreen Adults Cosmetics Locion 60 250Ml</c:v>
                </c:pt>
                <c:pt idx="11">
                  <c:v>Sun &amp; Skin Care Research No-Ad Sunscreen Adults Cosmetics Locion 50 89Ml</c:v>
                </c:pt>
              </c:strCache>
            </c:strRef>
          </c:cat>
          <c:val>
            <c:numRef>
              <c:f>Sheet1!$B$2:$B$13</c:f>
              <c:numCache>
                <c:formatCode>General</c:formatCode>
                <c:ptCount val="12"/>
                <c:pt idx="0">
                  <c:v>326.59</c:v>
                </c:pt>
                <c:pt idx="1">
                  <c:v>268.26</c:v>
                </c:pt>
                <c:pt idx="2">
                  <c:v>317.01</c:v>
                </c:pt>
                <c:pt idx="3">
                  <c:v>316.77</c:v>
                </c:pt>
                <c:pt idx="4">
                  <c:v>318.71</c:v>
                </c:pt>
                <c:pt idx="5">
                  <c:v>284.34</c:v>
                </c:pt>
                <c:pt idx="6">
                  <c:v>282.23</c:v>
                </c:pt>
                <c:pt idx="7">
                  <c:v>270.0</c:v>
                </c:pt>
                <c:pt idx="8">
                  <c:v>308.31</c:v>
                </c:pt>
                <c:pt idx="9">
                  <c:v>195.0</c:v>
                </c:pt>
                <c:pt idx="10">
                  <c:v>250.0</c:v>
                </c:pt>
                <c:pt idx="11">
                  <c:v>1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2</a:t>
                    </a:r>
                  </a:p>
                </c:rich>
              </c:tx>
              <c:showLegendKey val="0"/>
              <c:showVal val="1"/>
              <c:showCatName val="0"/>
              <c:showSerName val="0"/>
              <c:showPercent val="0"/>
              <c:showBubbleSize val="0"/>
            </c:dLbl>
            <c:dLbl>
              <c:idx val="1"/>
              <c:tx>
                <c:rich>
                  <a:bodyPr/>
                  <a:lstStyle/>
                  <a:p>
                    <a:r>
                      <a:t>216.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Kids Sport Sunscreen Kids Cosmetics Roll-On 60+ 75Ml</c:v>
                </c:pt>
                <c:pt idx="1">
                  <c:v>Edgewell Banana Boat Ultra Sunscreen Adults Sport Roll-On 60+ 75Ml</c:v>
                </c:pt>
              </c:strCache>
            </c:strRef>
          </c:cat>
          <c:val>
            <c:numRef>
              <c:f>Sheet1!$B$2:$B$3</c:f>
              <c:numCache>
                <c:formatCode>General</c:formatCode>
                <c:ptCount val="2"/>
                <c:pt idx="0">
                  <c:v>216.2</c:v>
                </c:pt>
                <c:pt idx="1">
                  <c:v>2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409.79</a:t>
                    </a:r>
                  </a:p>
                </c:rich>
              </c:tx>
              <c:showLegendKey val="0"/>
              <c:showVal val="1"/>
              <c:showCatName val="0"/>
              <c:showSerName val="0"/>
              <c:showPercent val="0"/>
              <c:showBubbleSize val="0"/>
            </c:dLbl>
            <c:dLbl>
              <c:idx val="2"/>
              <c:tx>
                <c:rich>
                  <a:bodyPr/>
                  <a:lstStyle/>
                  <a:p>
                    <a:r>
                      <a:t>240.73</a:t>
                    </a:r>
                  </a:p>
                </c:rich>
              </c:tx>
              <c:showLegendKey val="0"/>
              <c:showVal val="1"/>
              <c:showCatName val="0"/>
              <c:showSerName val="0"/>
              <c:showPercent val="0"/>
              <c:showBubbleSize val="0"/>
            </c:dLbl>
            <c:dLbl>
              <c:idx val="3"/>
              <c:tx>
                <c:rich>
                  <a:bodyPr/>
                  <a:lstStyle/>
                  <a:p>
                    <a:r>
                      <a:t>380.54</a:t>
                    </a:r>
                  </a:p>
                </c:rich>
              </c:tx>
              <c:showLegendKey val="0"/>
              <c:showVal val="1"/>
              <c:showCatName val="0"/>
              <c:showSerName val="0"/>
              <c:showPercent val="0"/>
              <c:showBubbleSize val="0"/>
            </c:dLbl>
            <c:dLbl>
              <c:idx val="4"/>
              <c:tx>
                <c:rich>
                  <a:bodyPr/>
                  <a:lstStyle/>
                  <a:p>
                    <a:r>
                      <a:t>743.11</a:t>
                    </a:r>
                  </a:p>
                </c:rich>
              </c:tx>
              <c:showLegendKey val="0"/>
              <c:showVal val="1"/>
              <c:showCatName val="0"/>
              <c:showSerName val="0"/>
              <c:showPercent val="0"/>
              <c:showBubbleSize val="0"/>
            </c:dLbl>
            <c:dLbl>
              <c:idx val="5"/>
              <c:tx>
                <c:rich>
                  <a:bodyPr/>
                  <a:lstStyle/>
                  <a:p>
                    <a:r>
                      <a:t>409.15</a:t>
                    </a:r>
                  </a:p>
                </c:rich>
              </c:tx>
              <c:showLegendKey val="0"/>
              <c:showVal val="1"/>
              <c:showCatName val="0"/>
              <c:showSerName val="0"/>
              <c:showPercent val="0"/>
              <c:showBubbleSize val="0"/>
            </c:dLbl>
            <c:dLbl>
              <c:idx val="6"/>
              <c:tx>
                <c:rich>
                  <a:bodyPr/>
                  <a:lstStyle/>
                  <a:p>
                    <a:r>
                      <a:t>350.46</a:t>
                    </a:r>
                  </a:p>
                </c:rich>
              </c:tx>
              <c:showLegendKey val="0"/>
              <c:showVal val="1"/>
              <c:showCatName val="0"/>
              <c:showSerName val="0"/>
              <c:showPercent val="0"/>
              <c:showBubbleSize val="0"/>
            </c:dLbl>
            <c:dLbl>
              <c:idx val="7"/>
              <c:tx>
                <c:rich>
                  <a:bodyPr/>
                  <a:lstStyle/>
                  <a:p>
                    <a:r>
                      <a:t>303.91</a:t>
                    </a:r>
                  </a:p>
                </c:rich>
              </c:tx>
              <c:showLegendKey val="0"/>
              <c:showVal val="1"/>
              <c:showCatName val="0"/>
              <c:showSerName val="0"/>
              <c:showPercent val="0"/>
              <c:showBubbleSize val="0"/>
            </c:dLbl>
            <c:dLbl>
              <c:idx val="8"/>
              <c:tx>
                <c:rich>
                  <a:bodyPr/>
                  <a:lstStyle/>
                  <a:p>
                    <a:r>
                      <a:t>335.94</a:t>
                    </a:r>
                  </a:p>
                </c:rich>
              </c:tx>
              <c:showLegendKey val="0"/>
              <c:showVal val="1"/>
              <c:showCatName val="0"/>
              <c:showSerName val="0"/>
              <c:showPercent val="0"/>
              <c:showBubbleSize val="0"/>
            </c:dLbl>
            <c:dLbl>
              <c:idx val="9"/>
              <c:tx>
                <c:rich>
                  <a:bodyPr/>
                  <a:lstStyle/>
                  <a:p>
                    <a:r>
                      <a:t>665.5</a:t>
                    </a:r>
                  </a:p>
                </c:rich>
              </c:tx>
              <c:showLegendKey val="0"/>
              <c:showVal val="1"/>
              <c:showCatName val="0"/>
              <c:showSerName val="0"/>
              <c:showPercent val="0"/>
              <c:showBubbleSize val="0"/>
            </c:dLbl>
            <c:dLbl>
              <c:idx val="10"/>
              <c:tx>
                <c:rich>
                  <a:bodyPr/>
                  <a:lstStyle/>
                  <a:p>
                    <a:r>
                      <a:t>398.0</a:t>
                    </a:r>
                  </a:p>
                </c:rich>
              </c:tx>
              <c:showLegendKey val="0"/>
              <c:showVal val="1"/>
              <c:showCatName val="0"/>
              <c:showSerName val="0"/>
              <c:showPercent val="0"/>
              <c:showBubbleSize val="0"/>
            </c:dLbl>
            <c:dLbl>
              <c:idx val="11"/>
              <c:tx>
                <c:rich>
                  <a:bodyPr/>
                  <a:lstStyle/>
                  <a:p>
                    <a:r>
                      <a:t>852.52</a:t>
                    </a:r>
                  </a:p>
                </c:rich>
              </c:tx>
              <c:showLegendKey val="0"/>
              <c:showVal val="1"/>
              <c:showCatName val="0"/>
              <c:showSerName val="0"/>
              <c:showPercent val="0"/>
              <c:showBubbleSize val="0"/>
            </c:dLbl>
            <c:dLbl>
              <c:idx val="12"/>
              <c:tx>
                <c:rich>
                  <a:bodyPr/>
                  <a:lstStyle/>
                  <a:p>
                    <a:r>
                      <a:t>357.0</a:t>
                    </a:r>
                  </a:p>
                </c:rich>
              </c:tx>
              <c:showLegendKey val="0"/>
              <c:showVal val="1"/>
              <c:showCatName val="0"/>
              <c:showSerName val="0"/>
              <c:showPercent val="0"/>
              <c:showBubbleSize val="0"/>
            </c:dLbl>
            <c:dLbl>
              <c:idx val="13"/>
              <c:tx>
                <c:rich>
                  <a:bodyPr/>
                  <a:lstStyle/>
                  <a:p>
                    <a:r>
                      <a:t>310.0</a:t>
                    </a:r>
                  </a:p>
                </c:rich>
              </c:tx>
              <c:showLegendKey val="0"/>
              <c:showVal val="1"/>
              <c:showCatName val="0"/>
              <c:showSerName val="0"/>
              <c:showPercent val="0"/>
              <c:showBubbleSize val="0"/>
            </c:dLbl>
            <c:dLbl>
              <c:idx val="14"/>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dvanced Protection Sunscreen Adults Cosmetics Spray 50+ 170Ml</c:v>
                </c:pt>
                <c:pt idx="1">
                  <c:v>Edgewell Banana Boat Dry Balance Sunscreen Adults Sport Spray 50+ 170Ml</c:v>
                </c:pt>
                <c:pt idx="2">
                  <c:v>Edgewell Banana Boat Dry Balance Sunscreen Adults Cosmetics Spray 50+ 340Ml</c:v>
                </c:pt>
                <c:pt idx="3">
                  <c:v>Australian Gold Australian Gold Sunscreen Adults Cosmetics Spray 30 - 49 170Ml</c:v>
                </c:pt>
                <c:pt idx="4">
                  <c:v>Bioderma Photoderm Sunscreen Adults Derma Spray 50+ 300Ml</c:v>
                </c:pt>
                <c:pt idx="5">
                  <c:v>Australian Gold Australian Gold Sunscreen Adults Sport Spray 50 170Ml</c:v>
                </c:pt>
                <c:pt idx="6">
                  <c:v>Australian Gold Australian Gold Sunscreen Adults Cosmetics Spray 15 - 19 170Ml</c:v>
                </c:pt>
                <c:pt idx="7">
                  <c:v>Sun &amp; Skin Care Research Ocean Potion Sunscreen Adults Cosmetics Spray 30 - 49 156Ml</c:v>
                </c:pt>
                <c:pt idx="8">
                  <c:v>Sun &amp; Skin Care Research Ocean Potion Sunscreen Adults Sport Spray 50 156Ml</c:v>
                </c:pt>
                <c:pt idx="9">
                  <c:v>Bioderma Photoderm Sunscreen Adults Derma Spray 50+ 150Ml</c:v>
                </c:pt>
                <c:pt idx="10">
                  <c:v>Sun &amp; Skin Care Research Ocean Potion Sunscreen Adults Cosmetics Spray 50+ 156Ml</c:v>
                </c:pt>
                <c:pt idx="11">
                  <c:v>Bioderma Photoderm Sunscreen Kids Derma Spray 50+ 200Ml</c:v>
                </c:pt>
                <c:pt idx="12">
                  <c:v>Australian Gold Australian Gold Sunscreen Kids Cosmetics Spray 50 170Ml</c:v>
                </c:pt>
                <c:pt idx="13">
                  <c:v>Sun &amp; Skin Care Research Ocean Potion Sunscreen Adults Cosmetics Spray 50 156Ml</c:v>
                </c:pt>
                <c:pt idx="14">
                  <c:v>Sun &amp; Skin Care Research Ocean Potion Sunscreen Kids Cosmetics Spray 50 156Ml</c:v>
                </c:pt>
              </c:strCache>
            </c:strRef>
          </c:cat>
          <c:val>
            <c:numRef>
              <c:f>Sheet1!$B$2:$B$16</c:f>
              <c:numCache>
                <c:formatCode>General</c:formatCode>
                <c:ptCount val="15"/>
                <c:pt idx="0">
                  <c:v>310.0</c:v>
                </c:pt>
                <c:pt idx="1">
                  <c:v>409.79</c:v>
                </c:pt>
                <c:pt idx="2">
                  <c:v>240.73</c:v>
                </c:pt>
                <c:pt idx="3">
                  <c:v>380.54</c:v>
                </c:pt>
                <c:pt idx="4">
                  <c:v>743.11</c:v>
                </c:pt>
                <c:pt idx="5">
                  <c:v>409.15</c:v>
                </c:pt>
                <c:pt idx="6">
                  <c:v>350.46</c:v>
                </c:pt>
                <c:pt idx="7">
                  <c:v>303.91</c:v>
                </c:pt>
                <c:pt idx="8">
                  <c:v>335.94</c:v>
                </c:pt>
                <c:pt idx="9">
                  <c:v>665.5</c:v>
                </c:pt>
                <c:pt idx="10">
                  <c:v>398.0</c:v>
                </c:pt>
                <c:pt idx="11">
                  <c:v>852.52</c:v>
                </c:pt>
                <c:pt idx="12">
                  <c:v>357.0</c:v>
                </c:pt>
                <c:pt idx="13">
                  <c:v>310.0</c:v>
                </c:pt>
                <c:pt idx="14">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301.59</a:t>
                    </a:r>
                  </a:p>
                </c:rich>
              </c:tx>
              <c:showLegendKey val="0"/>
              <c:showVal val="1"/>
              <c:showCatName val="0"/>
              <c:showSerName val="0"/>
              <c:showPercent val="0"/>
              <c:showBubbleSize val="0"/>
            </c:dLbl>
            <c:dLbl>
              <c:idx val="2"/>
              <c:tx>
                <c:rich>
                  <a:bodyPr/>
                  <a:lstStyle/>
                  <a:p>
                    <a:r>
                      <a:t>305.15</a:t>
                    </a:r>
                  </a:p>
                </c:rich>
              </c:tx>
              <c:showLegendKey val="0"/>
              <c:showVal val="1"/>
              <c:showCatName val="0"/>
              <c:showSerName val="0"/>
              <c:showPercent val="0"/>
              <c:showBubbleSize val="0"/>
            </c:dLbl>
            <c:dLbl>
              <c:idx val="3"/>
              <c:tx>
                <c:rich>
                  <a:bodyPr/>
                  <a:lstStyle/>
                  <a:p>
                    <a:r>
                      <a:t>325.25</a:t>
                    </a:r>
                  </a:p>
                </c:rich>
              </c:tx>
              <c:showLegendKey val="0"/>
              <c:showVal val="1"/>
              <c:showCatName val="0"/>
              <c:showSerName val="0"/>
              <c:showPercent val="0"/>
              <c:showBubbleSize val="0"/>
            </c:dLbl>
            <c:dLbl>
              <c:idx val="4"/>
              <c:tx>
                <c:rich>
                  <a:bodyPr/>
                  <a:lstStyle/>
                  <a:p>
                    <a:r>
                      <a:t>283.84</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28</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4</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1</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Tanning Tanning Adults Cosmetics Spray Aceite 0 - 5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2.7</c:v>
                </c:pt>
                <c:pt idx="1">
                  <c:v>301.59</c:v>
                </c:pt>
                <c:pt idx="2">
                  <c:v>305.15</c:v>
                </c:pt>
                <c:pt idx="3">
                  <c:v>325.25</c:v>
                </c:pt>
                <c:pt idx="4">
                  <c:v>283.84</c:v>
                </c:pt>
                <c:pt idx="5">
                  <c:v>635.69</c:v>
                </c:pt>
                <c:pt idx="6">
                  <c:v>636.86</c:v>
                </c:pt>
                <c:pt idx="7">
                  <c:v>646.75</c:v>
                </c:pt>
                <c:pt idx="8">
                  <c:v>665.28</c:v>
                </c:pt>
                <c:pt idx="9">
                  <c:v>462.71</c:v>
                </c:pt>
                <c:pt idx="10">
                  <c:v>622.04</c:v>
                </c:pt>
                <c:pt idx="11">
                  <c:v>585.67</c:v>
                </c:pt>
                <c:pt idx="12">
                  <c:v>588.76</c:v>
                </c:pt>
                <c:pt idx="13">
                  <c:v>831.48</c:v>
                </c:pt>
                <c:pt idx="14">
                  <c:v>534.15</c:v>
                </c:pt>
                <c:pt idx="15">
                  <c:v>276.8</c:v>
                </c:pt>
                <c:pt idx="16">
                  <c:v>316.96</c:v>
                </c:pt>
                <c:pt idx="17">
                  <c:v>301.21</c:v>
                </c:pt>
                <c:pt idx="18">
                  <c:v>322.3</c:v>
                </c:pt>
                <c:pt idx="19">
                  <c:v>18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dLblPos val="t"/>
              <c:showLegendKey val="0"/>
              <c:showVal val="1"/>
              <c:showCatName val="0"/>
              <c:showSerName val="0"/>
              <c:showPercent val="0"/>
              <c:showBubbleSize val="0"/>
            </c:dLbl>
            <c:dLbl>
              <c:idx val="1"/>
              <c:tx>
                <c:rich>
                  <a:bodyPr/>
                  <a:lstStyle/>
                  <a:p>
                    <a:r>
                      <a:t>282.37</a:t>
                    </a:r>
                  </a:p>
                </c:rich>
              </c:tx>
              <c:dLblPos val="t"/>
              <c:showLegendKey val="0"/>
              <c:showVal val="1"/>
              <c:showCatName val="0"/>
              <c:showSerName val="0"/>
              <c:showPercent val="0"/>
              <c:showBubbleSize val="0"/>
            </c:dLbl>
            <c:dLbl>
              <c:idx val="2"/>
              <c:tx>
                <c:rich>
                  <a:bodyPr/>
                  <a:lstStyle/>
                  <a:p>
                    <a:r>
                      <a:t>258.13</a:t>
                    </a:r>
                  </a:p>
                </c:rich>
              </c:tx>
              <c:dLblPos val="t"/>
              <c:showLegendKey val="0"/>
              <c:showVal val="1"/>
              <c:showCatName val="0"/>
              <c:showSerName val="0"/>
              <c:showPercent val="0"/>
              <c:showBubbleSize val="0"/>
            </c:dLbl>
            <c:dLbl>
              <c:idx val="3"/>
              <c:tx>
                <c:rich>
                  <a:bodyPr/>
                  <a:lstStyle/>
                  <a:p>
                    <a:r>
                      <a:t>242.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9.3</c:v>
                </c:pt>
                <c:pt idx="1">
                  <c:v>282.37</c:v>
                </c:pt>
                <c:pt idx="2">
                  <c:v>258.13</c:v>
                </c:pt>
                <c:pt idx="3">
                  <c:v>24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showLegendKey val="0"/>
              <c:showVal val="1"/>
              <c:showCatName val="0"/>
              <c:showSerName val="0"/>
              <c:showPercent val="0"/>
              <c:showBubbleSize val="0"/>
            </c:dLbl>
            <c:dLbl>
              <c:idx val="1"/>
              <c:tx>
                <c:rich>
                  <a:bodyPr/>
                  <a:lstStyle/>
                  <a:p>
                    <a:r>
                      <a:t>326.36</a:t>
                    </a:r>
                  </a:p>
                </c:rich>
              </c:tx>
              <c:showLegendKey val="0"/>
              <c:showVal val="1"/>
              <c:showCatName val="0"/>
              <c:showSerName val="0"/>
              <c:showPercent val="0"/>
              <c:showBubbleSize val="0"/>
            </c:dLbl>
            <c:dLbl>
              <c:idx val="2"/>
              <c:tx>
                <c:rich>
                  <a:bodyPr/>
                  <a:lstStyle/>
                  <a:p>
                    <a:r>
                      <a:t>283.81</a:t>
                    </a:r>
                  </a:p>
                </c:rich>
              </c:tx>
              <c:showLegendKey val="0"/>
              <c:showVal val="1"/>
              <c:showCatName val="0"/>
              <c:showSerName val="0"/>
              <c:showPercent val="0"/>
              <c:showBubbleSize val="0"/>
            </c:dLbl>
            <c:dLbl>
              <c:idx val="3"/>
              <c:tx>
                <c:rich>
                  <a:bodyPr/>
                  <a:lstStyle/>
                  <a:p>
                    <a:r>
                      <a:t>302.86</a:t>
                    </a:r>
                  </a:p>
                </c:rich>
              </c:tx>
              <c:showLegendKey val="0"/>
              <c:showVal val="1"/>
              <c:showCatName val="0"/>
              <c:showSerName val="0"/>
              <c:showPercent val="0"/>
              <c:showBubbleSize val="0"/>
            </c:dLbl>
            <c:dLbl>
              <c:idx val="4"/>
              <c:tx>
                <c:rich>
                  <a:bodyPr/>
                  <a:lstStyle/>
                  <a:p>
                    <a:r>
                      <a:t>307.23</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28</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4</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1</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96.61</c:v>
                </c:pt>
                <c:pt idx="1">
                  <c:v>326.36</c:v>
                </c:pt>
                <c:pt idx="2">
                  <c:v>283.81</c:v>
                </c:pt>
                <c:pt idx="3">
                  <c:v>302.86</c:v>
                </c:pt>
                <c:pt idx="4">
                  <c:v>307.23</c:v>
                </c:pt>
                <c:pt idx="5">
                  <c:v>635.69</c:v>
                </c:pt>
                <c:pt idx="6">
                  <c:v>636.86</c:v>
                </c:pt>
                <c:pt idx="7">
                  <c:v>646.75</c:v>
                </c:pt>
                <c:pt idx="8">
                  <c:v>665.28</c:v>
                </c:pt>
                <c:pt idx="9">
                  <c:v>462.71</c:v>
                </c:pt>
                <c:pt idx="10">
                  <c:v>622.04</c:v>
                </c:pt>
                <c:pt idx="11">
                  <c:v>585.67</c:v>
                </c:pt>
                <c:pt idx="12">
                  <c:v>588.76</c:v>
                </c:pt>
                <c:pt idx="13">
                  <c:v>831.48</c:v>
                </c:pt>
                <c:pt idx="14">
                  <c:v>534.15</c:v>
                </c:pt>
                <c:pt idx="15">
                  <c:v>276.8</c:v>
                </c:pt>
                <c:pt idx="16">
                  <c:v>316.96</c:v>
                </c:pt>
                <c:pt idx="17">
                  <c:v>301.21</c:v>
                </c:pt>
                <c:pt idx="18">
                  <c:v>322.3</c:v>
                </c:pt>
                <c:pt idx="19">
                  <c:v>18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showLegendKey val="0"/>
              <c:showVal val="1"/>
              <c:showCatName val="0"/>
              <c:showSerName val="0"/>
              <c:showPercent val="0"/>
              <c:showBubbleSize val="0"/>
            </c:dLbl>
            <c:dLbl>
              <c:idx val="1"/>
              <c:tx>
                <c:rich>
                  <a:bodyPr/>
                  <a:lstStyle/>
                  <a:p>
                    <a:r>
                      <a:t>280.19</a:t>
                    </a:r>
                  </a:p>
                </c:rich>
              </c:tx>
              <c:showLegendKey val="0"/>
              <c:showVal val="1"/>
              <c:showCatName val="0"/>
              <c:showSerName val="0"/>
              <c:showPercent val="0"/>
              <c:showBubbleSize val="0"/>
            </c:dLbl>
            <c:dLbl>
              <c:idx val="2"/>
              <c:tx>
                <c:rich>
                  <a:bodyPr/>
                  <a:lstStyle/>
                  <a:p>
                    <a:r>
                      <a:t>230.57</a:t>
                    </a:r>
                  </a:p>
                </c:rich>
              </c:tx>
              <c:showLegendKey val="0"/>
              <c:showVal val="1"/>
              <c:showCatName val="0"/>
              <c:showSerName val="0"/>
              <c:showPercent val="0"/>
              <c:showBubbleSize val="0"/>
            </c:dLbl>
            <c:dLbl>
              <c:idx val="3"/>
              <c:tx>
                <c:rich>
                  <a:bodyPr/>
                  <a:lstStyle/>
                  <a:p>
                    <a:r>
                      <a:t>238.78</a:t>
                    </a:r>
                  </a:p>
                </c:rich>
              </c:tx>
              <c:showLegendKey val="0"/>
              <c:showVal val="1"/>
              <c:showCatName val="0"/>
              <c:showSerName val="0"/>
              <c:showPercent val="0"/>
              <c:showBubbleSize val="0"/>
            </c:dLbl>
            <c:dLbl>
              <c:idx val="4"/>
              <c:tx>
                <c:rich>
                  <a:bodyPr/>
                  <a:lstStyle/>
                  <a:p>
                    <a:r>
                      <a:t>406.0</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28</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4</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1</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42.81</c:v>
                </c:pt>
                <c:pt idx="1">
                  <c:v>280.19</c:v>
                </c:pt>
                <c:pt idx="2">
                  <c:v>230.57</c:v>
                </c:pt>
                <c:pt idx="3">
                  <c:v>238.78</c:v>
                </c:pt>
                <c:pt idx="4">
                  <c:v>406.0</c:v>
                </c:pt>
                <c:pt idx="5">
                  <c:v>635.69</c:v>
                </c:pt>
                <c:pt idx="6">
                  <c:v>636.86</c:v>
                </c:pt>
                <c:pt idx="7">
                  <c:v>646.75</c:v>
                </c:pt>
                <c:pt idx="8">
                  <c:v>665.28</c:v>
                </c:pt>
                <c:pt idx="9">
                  <c:v>462.71</c:v>
                </c:pt>
                <c:pt idx="10">
                  <c:v>622.04</c:v>
                </c:pt>
                <c:pt idx="11">
                  <c:v>585.67</c:v>
                </c:pt>
                <c:pt idx="12">
                  <c:v>588.76</c:v>
                </c:pt>
                <c:pt idx="13">
                  <c:v>831.48</c:v>
                </c:pt>
                <c:pt idx="14">
                  <c:v>534.15</c:v>
                </c:pt>
                <c:pt idx="15">
                  <c:v>276.8</c:v>
                </c:pt>
                <c:pt idx="16">
                  <c:v>316.96</c:v>
                </c:pt>
                <c:pt idx="17">
                  <c:v>301.21</c:v>
                </c:pt>
                <c:pt idx="18">
                  <c:v>322.3</c:v>
                </c:pt>
                <c:pt idx="19">
                  <c:v>18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306.84</a:t>
                    </a:r>
                  </a:p>
                </c:rich>
              </c:tx>
              <c:showLegendKey val="0"/>
              <c:showVal val="1"/>
              <c:showCatName val="0"/>
              <c:showSerName val="0"/>
              <c:showPercent val="0"/>
              <c:showBubbleSize val="0"/>
            </c:dLbl>
            <c:dLbl>
              <c:idx val="2"/>
              <c:tx>
                <c:rich>
                  <a:bodyPr/>
                  <a:lstStyle/>
                  <a:p>
                    <a:r>
                      <a:t>308.69</a:t>
                    </a:r>
                  </a:p>
                </c:rich>
              </c:tx>
              <c:showLegendKey val="0"/>
              <c:showVal val="1"/>
              <c:showCatName val="0"/>
              <c:showSerName val="0"/>
              <c:showPercent val="0"/>
              <c:showBubbleSize val="0"/>
            </c:dLbl>
            <c:dLbl>
              <c:idx val="3"/>
              <c:tx>
                <c:rich>
                  <a:bodyPr/>
                  <a:lstStyle/>
                  <a:p>
                    <a:r>
                      <a:t>334.03</a:t>
                    </a:r>
                  </a:p>
                </c:rich>
              </c:tx>
              <c:showLegendKey val="0"/>
              <c:showVal val="1"/>
              <c:showCatName val="0"/>
              <c:showSerName val="0"/>
              <c:showPercent val="0"/>
              <c:showBubbleSize val="0"/>
            </c:dLbl>
            <c:dLbl>
              <c:idx val="4"/>
              <c:tx>
                <c:rich>
                  <a:bodyPr/>
                  <a:lstStyle/>
                  <a:p>
                    <a:r>
                      <a:t>287.71</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6</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6</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2</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Tanning Tanning Adults Cosmetics Spray Aceite 0 - 5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74</c:v>
                </c:pt>
                <c:pt idx="1">
                  <c:v>306.84</c:v>
                </c:pt>
                <c:pt idx="2">
                  <c:v>308.69</c:v>
                </c:pt>
                <c:pt idx="3">
                  <c:v>334.03</c:v>
                </c:pt>
                <c:pt idx="4">
                  <c:v>287.71</c:v>
                </c:pt>
                <c:pt idx="5">
                  <c:v>635.1</c:v>
                </c:pt>
                <c:pt idx="6">
                  <c:v>641.3</c:v>
                </c:pt>
                <c:pt idx="7">
                  <c:v>647.88</c:v>
                </c:pt>
                <c:pt idx="8">
                  <c:v>648.86</c:v>
                </c:pt>
                <c:pt idx="9">
                  <c:v>465.44</c:v>
                </c:pt>
                <c:pt idx="10">
                  <c:v>629.46</c:v>
                </c:pt>
                <c:pt idx="11">
                  <c:v>594.01</c:v>
                </c:pt>
                <c:pt idx="12">
                  <c:v>597.5</c:v>
                </c:pt>
                <c:pt idx="13">
                  <c:v>839.2</c:v>
                </c:pt>
                <c:pt idx="14">
                  <c:v>542.95</c:v>
                </c:pt>
                <c:pt idx="15">
                  <c:v>281.56</c:v>
                </c:pt>
                <c:pt idx="16">
                  <c:v>316.47</c:v>
                </c:pt>
                <c:pt idx="17">
                  <c:v>312.72</c:v>
                </c:pt>
                <c:pt idx="18">
                  <c:v>318.97</c:v>
                </c:pt>
                <c:pt idx="19">
                  <c:v>186.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showLegendKey val="0"/>
              <c:showVal val="1"/>
              <c:showCatName val="0"/>
              <c:showSerName val="0"/>
              <c:showPercent val="0"/>
              <c:showBubbleSize val="0"/>
            </c:dLbl>
            <c:dLbl>
              <c:idx val="1"/>
              <c:tx>
                <c:rich>
                  <a:bodyPr/>
                  <a:lstStyle/>
                  <a:p>
                    <a:r>
                      <a:t>338.04</a:t>
                    </a:r>
                  </a:p>
                </c:rich>
              </c:tx>
              <c:showLegendKey val="0"/>
              <c:showVal val="1"/>
              <c:showCatName val="0"/>
              <c:showSerName val="0"/>
              <c:showPercent val="0"/>
              <c:showBubbleSize val="0"/>
            </c:dLbl>
            <c:dLbl>
              <c:idx val="2"/>
              <c:tx>
                <c:rich>
                  <a:bodyPr/>
                  <a:lstStyle/>
                  <a:p>
                    <a:r>
                      <a:t>290.72</a:t>
                    </a:r>
                  </a:p>
                </c:rich>
              </c:tx>
              <c:showLegendKey val="0"/>
              <c:showVal val="1"/>
              <c:showCatName val="0"/>
              <c:showSerName val="0"/>
              <c:showPercent val="0"/>
              <c:showBubbleSize val="0"/>
            </c:dLbl>
            <c:dLbl>
              <c:idx val="3"/>
              <c:tx>
                <c:rich>
                  <a:bodyPr/>
                  <a:lstStyle/>
                  <a:p>
                    <a:r>
                      <a:t>316.05</a:t>
                    </a:r>
                  </a:p>
                </c:rich>
              </c:tx>
              <c:showLegendKey val="0"/>
              <c:showVal val="1"/>
              <c:showCatName val="0"/>
              <c:showSerName val="0"/>
              <c:showPercent val="0"/>
              <c:showBubbleSize val="0"/>
            </c:dLbl>
            <c:dLbl>
              <c:idx val="4"/>
              <c:tx>
                <c:rich>
                  <a:bodyPr/>
                  <a:lstStyle/>
                  <a:p>
                    <a:r>
                      <a:t>310.2</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6</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6</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2</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3.99</c:v>
                </c:pt>
                <c:pt idx="1">
                  <c:v>338.04</c:v>
                </c:pt>
                <c:pt idx="2">
                  <c:v>290.72</c:v>
                </c:pt>
                <c:pt idx="3">
                  <c:v>316.05</c:v>
                </c:pt>
                <c:pt idx="4">
                  <c:v>310.2</c:v>
                </c:pt>
                <c:pt idx="5">
                  <c:v>635.1</c:v>
                </c:pt>
                <c:pt idx="6">
                  <c:v>641.3</c:v>
                </c:pt>
                <c:pt idx="7">
                  <c:v>647.88</c:v>
                </c:pt>
                <c:pt idx="8">
                  <c:v>648.86</c:v>
                </c:pt>
                <c:pt idx="9">
                  <c:v>465.44</c:v>
                </c:pt>
                <c:pt idx="10">
                  <c:v>629.46</c:v>
                </c:pt>
                <c:pt idx="11">
                  <c:v>594.01</c:v>
                </c:pt>
                <c:pt idx="12">
                  <c:v>597.5</c:v>
                </c:pt>
                <c:pt idx="13">
                  <c:v>839.2</c:v>
                </c:pt>
                <c:pt idx="14">
                  <c:v>542.95</c:v>
                </c:pt>
                <c:pt idx="15">
                  <c:v>281.56</c:v>
                </c:pt>
                <c:pt idx="16">
                  <c:v>316.47</c:v>
                </c:pt>
                <c:pt idx="17">
                  <c:v>312.72</c:v>
                </c:pt>
                <c:pt idx="18">
                  <c:v>318.97</c:v>
                </c:pt>
                <c:pt idx="19">
                  <c:v>186.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showLegendKey val="0"/>
              <c:showVal val="1"/>
              <c:showCatName val="0"/>
              <c:showSerName val="0"/>
              <c:showPercent val="0"/>
              <c:showBubbleSize val="0"/>
            </c:dLbl>
            <c:dLbl>
              <c:idx val="1"/>
              <c:tx>
                <c:rich>
                  <a:bodyPr/>
                  <a:lstStyle/>
                  <a:p>
                    <a:r>
                      <a:t>282.37</a:t>
                    </a:r>
                  </a:p>
                </c:rich>
              </c:tx>
              <c:showLegendKey val="0"/>
              <c:showVal val="1"/>
              <c:showCatName val="0"/>
              <c:showSerName val="0"/>
              <c:showPercent val="0"/>
              <c:showBubbleSize val="0"/>
            </c:dLbl>
            <c:dLbl>
              <c:idx val="2"/>
              <c:tx>
                <c:rich>
                  <a:bodyPr/>
                  <a:lstStyle/>
                  <a:p>
                    <a:r>
                      <a:t>258.13</a:t>
                    </a:r>
                  </a:p>
                </c:rich>
              </c:tx>
              <c:showLegendKey val="0"/>
              <c:showVal val="1"/>
              <c:showCatName val="0"/>
              <c:showSerName val="0"/>
              <c:showPercent val="0"/>
              <c:showBubbleSize val="0"/>
            </c:dLbl>
            <c:dLbl>
              <c:idx val="3"/>
              <c:tx>
                <c:rich>
                  <a:bodyPr/>
                  <a:lstStyle/>
                  <a:p>
                    <a:r>
                      <a:t>242.37</a:t>
                    </a:r>
                  </a:p>
                </c:rich>
              </c:tx>
              <c:showLegendKey val="0"/>
              <c:showVal val="1"/>
              <c:showCatName val="0"/>
              <c:showSerName val="0"/>
              <c:showPercent val="0"/>
              <c:showBubbleSize val="0"/>
            </c:dLbl>
            <c:dLbl>
              <c:idx val="4"/>
              <c:tx>
                <c:rich>
                  <a:bodyPr/>
                  <a:lstStyle/>
                  <a:p>
                    <a:r>
                      <a:t>400.18</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6</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6</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2</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69.3</c:v>
                </c:pt>
                <c:pt idx="1">
                  <c:v>282.37</c:v>
                </c:pt>
                <c:pt idx="2">
                  <c:v>258.13</c:v>
                </c:pt>
                <c:pt idx="3">
                  <c:v>242.37</c:v>
                </c:pt>
                <c:pt idx="4">
                  <c:v>400.18</c:v>
                </c:pt>
                <c:pt idx="5">
                  <c:v>635.1</c:v>
                </c:pt>
                <c:pt idx="6">
                  <c:v>641.3</c:v>
                </c:pt>
                <c:pt idx="7">
                  <c:v>647.88</c:v>
                </c:pt>
                <c:pt idx="8">
                  <c:v>648.86</c:v>
                </c:pt>
                <c:pt idx="9">
                  <c:v>465.44</c:v>
                </c:pt>
                <c:pt idx="10">
                  <c:v>629.46</c:v>
                </c:pt>
                <c:pt idx="11">
                  <c:v>594.01</c:v>
                </c:pt>
                <c:pt idx="12">
                  <c:v>597.5</c:v>
                </c:pt>
                <c:pt idx="13">
                  <c:v>839.2</c:v>
                </c:pt>
                <c:pt idx="14">
                  <c:v>542.95</c:v>
                </c:pt>
                <c:pt idx="15">
                  <c:v>281.56</c:v>
                </c:pt>
                <c:pt idx="16">
                  <c:v>316.47</c:v>
                </c:pt>
                <c:pt idx="17">
                  <c:v>312.72</c:v>
                </c:pt>
                <c:pt idx="18">
                  <c:v>318.97</c:v>
                </c:pt>
                <c:pt idx="19">
                  <c:v>186.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2</a:t>
                    </a:r>
                  </a:p>
                </c:rich>
              </c:tx>
              <c:showLegendKey val="0"/>
              <c:showVal val="1"/>
              <c:showCatName val="0"/>
              <c:showSerName val="0"/>
              <c:showPercent val="0"/>
              <c:showBubbleSize val="0"/>
            </c:dLbl>
            <c:dLbl>
              <c:idx val="1"/>
              <c:tx>
                <c:rich>
                  <a:bodyPr/>
                  <a:lstStyle/>
                  <a:p>
                    <a:r>
                      <a:t>318.53</a:t>
                    </a:r>
                  </a:p>
                </c:rich>
              </c:tx>
              <c:showLegendKey val="0"/>
              <c:showVal val="1"/>
              <c:showCatName val="0"/>
              <c:showSerName val="0"/>
              <c:showPercent val="0"/>
              <c:showBubbleSize val="0"/>
            </c:dLbl>
            <c:dLbl>
              <c:idx val="2"/>
              <c:tx>
                <c:rich>
                  <a:bodyPr/>
                  <a:lstStyle/>
                  <a:p>
                    <a:r>
                      <a:t>347.12</a:t>
                    </a:r>
                  </a:p>
                </c:rich>
              </c:tx>
              <c:showLegendKey val="0"/>
              <c:showVal val="1"/>
              <c:showCatName val="0"/>
              <c:showSerName val="0"/>
              <c:showPercent val="0"/>
              <c:showBubbleSize val="0"/>
            </c:dLbl>
            <c:dLbl>
              <c:idx val="3"/>
              <c:tx>
                <c:rich>
                  <a:bodyPr/>
                  <a:lstStyle/>
                  <a:p>
                    <a:r>
                      <a:t>330.0</a:t>
                    </a:r>
                  </a:p>
                </c:rich>
              </c:tx>
              <c:showLegendKey val="0"/>
              <c:showVal val="1"/>
              <c:showCatName val="0"/>
              <c:showSerName val="0"/>
              <c:showPercent val="0"/>
              <c:showBubbleSize val="0"/>
            </c:dLbl>
            <c:dLbl>
              <c:idx val="4"/>
              <c:tx>
                <c:rich>
                  <a:bodyPr/>
                  <a:lstStyle/>
                  <a:p>
                    <a:r>
                      <a:t>277.66</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4</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08</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Spray Liquido 50 220Ml</c:v>
                </c:pt>
                <c:pt idx="3">
                  <c:v>Edgewell Hawaiian Tropic Island Sport Sunscreen Adults Sport Liquido 50 240Ml</c:v>
                </c:pt>
                <c:pt idx="4">
                  <c:v>Edgewell Hawaiian Tropic Tanning Tanning Adults Cosmetics Spray Aceite 0 - 5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05.32</c:v>
                </c:pt>
                <c:pt idx="1">
                  <c:v>318.53</c:v>
                </c:pt>
                <c:pt idx="2">
                  <c:v>347.12</c:v>
                </c:pt>
                <c:pt idx="3">
                  <c:v>330.0</c:v>
                </c:pt>
                <c:pt idx="4">
                  <c:v>277.66</c:v>
                </c:pt>
                <c:pt idx="5">
                  <c:v>634.08</c:v>
                </c:pt>
                <c:pt idx="6">
                  <c:v>642.22</c:v>
                </c:pt>
                <c:pt idx="7">
                  <c:v>649.42</c:v>
                </c:pt>
                <c:pt idx="8">
                  <c:v>652.94</c:v>
                </c:pt>
                <c:pt idx="9">
                  <c:v>467.39</c:v>
                </c:pt>
                <c:pt idx="10">
                  <c:v>633.08</c:v>
                </c:pt>
                <c:pt idx="11">
                  <c:v>596.69</c:v>
                </c:pt>
                <c:pt idx="12">
                  <c:v>601.16</c:v>
                </c:pt>
                <c:pt idx="13">
                  <c:v>843.38</c:v>
                </c:pt>
                <c:pt idx="14">
                  <c:v>550.32</c:v>
                </c:pt>
                <c:pt idx="15">
                  <c:v>315.86</c:v>
                </c:pt>
                <c:pt idx="16">
                  <c:v>350.73</c:v>
                </c:pt>
                <c:pt idx="17">
                  <c:v>361.69</c:v>
                </c:pt>
                <c:pt idx="18">
                  <c:v>365.11</c:v>
                </c:pt>
                <c:pt idx="19">
                  <c:v>18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8.86</a:t>
                    </a:r>
                  </a:p>
                </c:rich>
              </c:tx>
              <c:showLegendKey val="0"/>
              <c:showVal val="1"/>
              <c:showCatName val="0"/>
              <c:showSerName val="0"/>
              <c:showPercent val="0"/>
              <c:showBubbleSize val="0"/>
            </c:dLbl>
            <c:dLbl>
              <c:idx val="1"/>
              <c:tx>
                <c:rich>
                  <a:bodyPr/>
                  <a:lstStyle/>
                  <a:p>
                    <a:r>
                      <a:t>159.67</a:t>
                    </a:r>
                  </a:p>
                </c:rich>
              </c:tx>
              <c:showLegendKey val="0"/>
              <c:showVal val="1"/>
              <c:showCatName val="0"/>
              <c:showSerName val="0"/>
              <c:showPercent val="0"/>
              <c:showBubbleSize val="0"/>
            </c:dLbl>
            <c:dLbl>
              <c:idx val="2"/>
              <c:tx>
                <c:rich>
                  <a:bodyPr/>
                  <a:lstStyle/>
                  <a:p>
                    <a:r>
                      <a:t>339.09</a:t>
                    </a:r>
                  </a:p>
                </c:rich>
              </c:tx>
              <c:showLegendKey val="0"/>
              <c:showVal val="1"/>
              <c:showCatName val="0"/>
              <c:showSerName val="0"/>
              <c:showPercent val="0"/>
              <c:showBubbleSize val="0"/>
            </c:dLbl>
            <c:dLbl>
              <c:idx val="3"/>
              <c:tx>
                <c:rich>
                  <a:bodyPr/>
                  <a:lstStyle/>
                  <a:p>
                    <a:r>
                      <a:t>330.54</a:t>
                    </a:r>
                  </a:p>
                </c:rich>
              </c:tx>
              <c:showLegendKey val="0"/>
              <c:showVal val="1"/>
              <c:showCatName val="0"/>
              <c:showSerName val="0"/>
              <c:showPercent val="0"/>
              <c:showBubbleSize val="0"/>
            </c:dLbl>
            <c:dLbl>
              <c:idx val="4"/>
              <c:tx>
                <c:rich>
                  <a:bodyPr/>
                  <a:lstStyle/>
                  <a:p>
                    <a:r>
                      <a:t>329.19</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4</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08</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fter Sun After Sun Adults Cosmetics Gel 0 - 5 230Ml</c:v>
                </c:pt>
                <c:pt idx="2">
                  <c:v>Edgewell Banana Boat Aqua Protect Sunscreen Adults Cosmetics Spray Liquido 50+ 170Ml</c:v>
                </c:pt>
                <c:pt idx="3">
                  <c:v>Edgewell Banana Boat Advanced Protection Sunscreen Adults Cosmetics Liquido 50+ 240Ml</c:v>
                </c:pt>
                <c:pt idx="4">
                  <c:v>Edgewell Banana Boat Dry Balance Sunscreen Adults Sport Spray Liquido 50 2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48.86</c:v>
                </c:pt>
                <c:pt idx="1">
                  <c:v>159.67</c:v>
                </c:pt>
                <c:pt idx="2">
                  <c:v>339.09</c:v>
                </c:pt>
                <c:pt idx="3">
                  <c:v>330.54</c:v>
                </c:pt>
                <c:pt idx="4">
                  <c:v>329.19</c:v>
                </c:pt>
                <c:pt idx="5">
                  <c:v>634.08</c:v>
                </c:pt>
                <c:pt idx="6">
                  <c:v>642.22</c:v>
                </c:pt>
                <c:pt idx="7">
                  <c:v>649.42</c:v>
                </c:pt>
                <c:pt idx="8">
                  <c:v>652.94</c:v>
                </c:pt>
                <c:pt idx="9">
                  <c:v>467.39</c:v>
                </c:pt>
                <c:pt idx="10">
                  <c:v>633.08</c:v>
                </c:pt>
                <c:pt idx="11">
                  <c:v>596.69</c:v>
                </c:pt>
                <c:pt idx="12">
                  <c:v>601.16</c:v>
                </c:pt>
                <c:pt idx="13">
                  <c:v>843.38</c:v>
                </c:pt>
                <c:pt idx="14">
                  <c:v>550.32</c:v>
                </c:pt>
                <c:pt idx="15">
                  <c:v>315.86</c:v>
                </c:pt>
                <c:pt idx="16">
                  <c:v>350.73</c:v>
                </c:pt>
                <c:pt idx="17">
                  <c:v>361.69</c:v>
                </c:pt>
                <c:pt idx="18">
                  <c:v>365.11</c:v>
                </c:pt>
                <c:pt idx="19">
                  <c:v>18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48</a:t>
                    </a:r>
                  </a:p>
                </c:rich>
              </c:tx>
              <c:showLegendKey val="0"/>
              <c:showVal val="1"/>
              <c:showCatName val="0"/>
              <c:showSerName val="0"/>
              <c:showPercent val="0"/>
              <c:showBubbleSize val="0"/>
            </c:dLbl>
            <c:dLbl>
              <c:idx val="1"/>
              <c:tx>
                <c:rich>
                  <a:bodyPr/>
                  <a:lstStyle/>
                  <a:p>
                    <a:r>
                      <a:t>363.49</a:t>
                    </a:r>
                  </a:p>
                </c:rich>
              </c:tx>
              <c:showLegendKey val="0"/>
              <c:showVal val="1"/>
              <c:showCatName val="0"/>
              <c:showSerName val="0"/>
              <c:showPercent val="0"/>
              <c:showBubbleSize val="0"/>
            </c:dLbl>
            <c:dLbl>
              <c:idx val="2"/>
              <c:tx>
                <c:rich>
                  <a:bodyPr/>
                  <a:lstStyle/>
                  <a:p>
                    <a:r>
                      <a:t>362.74</a:t>
                    </a:r>
                  </a:p>
                </c:rich>
              </c:tx>
              <c:showLegendKey val="0"/>
              <c:showVal val="1"/>
              <c:showCatName val="0"/>
              <c:showSerName val="0"/>
              <c:showPercent val="0"/>
              <c:showBubbleSize val="0"/>
            </c:dLbl>
            <c:dLbl>
              <c:idx val="3"/>
              <c:tx>
                <c:rich>
                  <a:bodyPr/>
                  <a:lstStyle/>
                  <a:p>
                    <a:r>
                      <a:t>400.18</a:t>
                    </a:r>
                  </a:p>
                </c:rich>
              </c:tx>
              <c:showLegendKey val="0"/>
              <c:showVal val="1"/>
              <c:showCatName val="0"/>
              <c:showSerName val="0"/>
              <c:showPercent val="0"/>
              <c:showBubbleSize val="0"/>
            </c:dLbl>
            <c:dLbl>
              <c:idx val="4"/>
              <c:tx>
                <c:rich>
                  <a:bodyPr/>
                  <a:lstStyle/>
                  <a:p>
                    <a:r>
                      <a:t>427.0</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4</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08</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Sensitive Sunscreen Adults Cosmetics Liquido 50+ 180Ml</c:v>
                </c:pt>
                <c:pt idx="4">
                  <c:v>Edgewell Beauty Care Antioxidant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45.48</c:v>
                </c:pt>
                <c:pt idx="1">
                  <c:v>363.49</c:v>
                </c:pt>
                <c:pt idx="2">
                  <c:v>362.74</c:v>
                </c:pt>
                <c:pt idx="3">
                  <c:v>400.18</c:v>
                </c:pt>
                <c:pt idx="4">
                  <c:v>427.0</c:v>
                </c:pt>
                <c:pt idx="5">
                  <c:v>634.08</c:v>
                </c:pt>
                <c:pt idx="6">
                  <c:v>642.22</c:v>
                </c:pt>
                <c:pt idx="7">
                  <c:v>649.42</c:v>
                </c:pt>
                <c:pt idx="8">
                  <c:v>652.94</c:v>
                </c:pt>
                <c:pt idx="9">
                  <c:v>467.39</c:v>
                </c:pt>
                <c:pt idx="10">
                  <c:v>633.08</c:v>
                </c:pt>
                <c:pt idx="11">
                  <c:v>596.69</c:v>
                </c:pt>
                <c:pt idx="12">
                  <c:v>601.16</c:v>
                </c:pt>
                <c:pt idx="13">
                  <c:v>843.38</c:v>
                </c:pt>
                <c:pt idx="14">
                  <c:v>550.32</c:v>
                </c:pt>
                <c:pt idx="15">
                  <c:v>315.86</c:v>
                </c:pt>
                <c:pt idx="16">
                  <c:v>350.73</c:v>
                </c:pt>
                <c:pt idx="17">
                  <c:v>361.69</c:v>
                </c:pt>
                <c:pt idx="18">
                  <c:v>365.11</c:v>
                </c:pt>
                <c:pt idx="19">
                  <c:v>18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70.09</a:t>
                    </a:r>
                  </a:p>
                </c:rich>
              </c:tx>
              <c:showLegendKey val="0"/>
              <c:showVal val="1"/>
              <c:showCatName val="0"/>
              <c:showSerName val="0"/>
              <c:showPercent val="0"/>
              <c:showBubbleSize val="0"/>
            </c:dLbl>
            <c:dLbl>
              <c:idx val="2"/>
              <c:tx>
                <c:rich>
                  <a:bodyPr/>
                  <a:lstStyle/>
                  <a:p>
                    <a:r>
                      <a:t>220.0</a:t>
                    </a:r>
                  </a:p>
                </c:rich>
              </c:tx>
              <c:showLegendKey val="0"/>
              <c:showVal val="1"/>
              <c:showCatName val="0"/>
              <c:showSerName val="0"/>
              <c:showPercent val="0"/>
              <c:showBubbleSize val="0"/>
            </c:dLbl>
            <c:dLbl>
              <c:idx val="3"/>
              <c:tx>
                <c:rich>
                  <a:bodyPr/>
                  <a:lstStyle/>
                  <a:p>
                    <a:r>
                      <a:t>258.0</a:t>
                    </a:r>
                  </a:p>
                </c:rich>
              </c:tx>
              <c:showLegendKey val="0"/>
              <c:showVal val="1"/>
              <c:showCatName val="0"/>
              <c:showSerName val="0"/>
              <c:showPercent val="0"/>
              <c:showBubbleSize val="0"/>
            </c:dLbl>
            <c:dLbl>
              <c:idx val="4"/>
              <c:tx>
                <c:rich>
                  <a:bodyPr/>
                  <a:lstStyle/>
                  <a:p>
                    <a:r>
                      <a:t>133.0</a:t>
                    </a:r>
                  </a:p>
                </c:rich>
              </c:tx>
              <c:showLegendKey val="0"/>
              <c:showVal val="1"/>
              <c:showCatName val="0"/>
              <c:showSerName val="0"/>
              <c:showPercent val="0"/>
              <c:showBubbleSize val="0"/>
            </c:dLbl>
            <c:dLbl>
              <c:idx val="5"/>
              <c:tx>
                <c:rich>
                  <a:bodyPr/>
                  <a:lstStyle/>
                  <a:p>
                    <a:r>
                      <a:t>453.61</a:t>
                    </a:r>
                  </a:p>
                </c:rich>
              </c:tx>
              <c:showLegendKey val="0"/>
              <c:showVal val="1"/>
              <c:showCatName val="0"/>
              <c:showSerName val="0"/>
              <c:showPercent val="0"/>
              <c:showBubbleSize val="0"/>
            </c:dLbl>
            <c:dLbl>
              <c:idx val="6"/>
              <c:tx>
                <c:rich>
                  <a:bodyPr/>
                  <a:lstStyle/>
                  <a:p>
                    <a:r>
                      <a:t>450.0</a:t>
                    </a:r>
                  </a:p>
                </c:rich>
              </c:tx>
              <c:showLegendKey val="0"/>
              <c:showVal val="1"/>
              <c:showCatName val="0"/>
              <c:showSerName val="0"/>
              <c:showPercent val="0"/>
              <c:showBubbleSize val="0"/>
            </c:dLbl>
            <c:dLbl>
              <c:idx val="7"/>
              <c:tx>
                <c:rich>
                  <a:bodyPr/>
                  <a:lstStyle/>
                  <a:p>
                    <a:r>
                      <a:t>188.69</a:t>
                    </a:r>
                  </a:p>
                </c:rich>
              </c:tx>
              <c:showLegendKey val="0"/>
              <c:showVal val="1"/>
              <c:showCatName val="0"/>
              <c:showSerName val="0"/>
              <c:showPercent val="0"/>
              <c:showBubbleSize val="0"/>
            </c:dLbl>
            <c:dLbl>
              <c:idx val="8"/>
              <c:tx>
                <c:rich>
                  <a:bodyPr/>
                  <a:lstStyle/>
                  <a:p>
                    <a:r>
                      <a:t>294.01</a:t>
                    </a:r>
                  </a:p>
                </c:rich>
              </c:tx>
              <c:showLegendKey val="0"/>
              <c:showVal val="1"/>
              <c:showCatName val="0"/>
              <c:showSerName val="0"/>
              <c:showPercent val="0"/>
              <c:showBubbleSize val="0"/>
            </c:dLbl>
            <c:dLbl>
              <c:idx val="9"/>
              <c:tx>
                <c:rich>
                  <a:bodyPr/>
                  <a:lstStyle/>
                  <a:p>
                    <a:r>
                      <a:t>232.54</a:t>
                    </a:r>
                  </a:p>
                </c:rich>
              </c:tx>
              <c:showLegendKey val="0"/>
              <c:showVal val="1"/>
              <c:showCatName val="0"/>
              <c:showSerName val="0"/>
              <c:showPercent val="0"/>
              <c:showBubbleSize val="0"/>
            </c:dLbl>
            <c:dLbl>
              <c:idx val="10"/>
              <c:tx>
                <c:rich>
                  <a:bodyPr/>
                  <a:lstStyle/>
                  <a:p>
                    <a:r>
                      <a:t>295.0</a:t>
                    </a:r>
                  </a:p>
                </c:rich>
              </c:tx>
              <c:showLegendKey val="0"/>
              <c:showVal val="1"/>
              <c:showCatName val="0"/>
              <c:showSerName val="0"/>
              <c:showPercent val="0"/>
              <c:showBubbleSize val="0"/>
            </c:dLbl>
            <c:dLbl>
              <c:idx val="11"/>
              <c:tx>
                <c:rich>
                  <a:bodyPr/>
                  <a:lstStyle/>
                  <a:p>
                    <a:r>
                      <a:t>362.53</a:t>
                    </a:r>
                  </a:p>
                </c:rich>
              </c:tx>
              <c:showLegendKey val="0"/>
              <c:showVal val="1"/>
              <c:showCatName val="0"/>
              <c:showSerName val="0"/>
              <c:showPercent val="0"/>
              <c:showBubbleSize val="0"/>
            </c:dLbl>
            <c:dLbl>
              <c:idx val="12"/>
              <c:tx>
                <c:rich>
                  <a:bodyPr/>
                  <a:lstStyle/>
                  <a:p>
                    <a:r>
                      <a:t>155.62</a:t>
                    </a:r>
                  </a:p>
                </c:rich>
              </c:tx>
              <c:showLegendKey val="0"/>
              <c:showVal val="1"/>
              <c:showCatName val="0"/>
              <c:showSerName val="0"/>
              <c:showPercent val="0"/>
              <c:showBubbleSize val="0"/>
            </c:dLbl>
            <c:dLbl>
              <c:idx val="13"/>
              <c:tx>
                <c:rich>
                  <a:bodyPr/>
                  <a:lstStyle/>
                  <a:p>
                    <a:r>
                      <a:t>118.11</a:t>
                    </a:r>
                  </a:p>
                </c:rich>
              </c:tx>
              <c:showLegendKey val="0"/>
              <c:showVal val="1"/>
              <c:showCatName val="0"/>
              <c:showSerName val="0"/>
              <c:showPercent val="0"/>
              <c:showBubbleSize val="0"/>
            </c:dLbl>
            <c:dLbl>
              <c:idx val="14"/>
              <c:tx>
                <c:rich>
                  <a:bodyPr/>
                  <a:lstStyle/>
                  <a:p>
                    <a:r>
                      <a:t>178.16</a:t>
                    </a:r>
                  </a:p>
                </c:rich>
              </c:tx>
              <c:showLegendKey val="0"/>
              <c:showVal val="1"/>
              <c:showCatName val="0"/>
              <c:showSerName val="0"/>
              <c:showPercent val="0"/>
              <c:showBubbleSize val="0"/>
            </c:dLbl>
            <c:dLbl>
              <c:idx val="15"/>
              <c:tx>
                <c:rich>
                  <a:bodyPr/>
                  <a:lstStyle/>
                  <a:p>
                    <a:r>
                      <a:t>156.83</a:t>
                    </a:r>
                  </a:p>
                </c:rich>
              </c:tx>
              <c:showLegendKey val="0"/>
              <c:showVal val="1"/>
              <c:showCatName val="0"/>
              <c:showSerName val="0"/>
              <c:showPercent val="0"/>
              <c:showBubbleSize val="0"/>
            </c:dLbl>
            <c:dLbl>
              <c:idx val="16"/>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ther Sunscreen Adults Cosmetics Crema 50+ 240Ml</c:v>
                </c:pt>
                <c:pt idx="1">
                  <c:v>Edgewell Hawaiian Tropic Island Sport Sunscreen Adults Sport Liquido 50 60Ml</c:v>
                </c:pt>
                <c:pt idx="2">
                  <c:v>Edgewell Hawaiian Tropic Island Sport Sunscreen Adults Sport Spray Liquido 50 220Ml</c:v>
                </c:pt>
                <c:pt idx="3">
                  <c:v>Edgewell Hawaiian Tropic Baby Sunscreen Baby Cosmetics Crema 50+ 240Ml</c:v>
                </c:pt>
                <c:pt idx="4">
                  <c:v>Edgewell Hawaiian Tropic Sheer Touch Sunscreen Adults Cosmetics Liquido 30 - 49 60Ml</c:v>
                </c:pt>
                <c:pt idx="5">
                  <c:v>Isdin Isdin Sunscreen Adults Derma Crema 50 50Ml</c:v>
                </c:pt>
                <c:pt idx="6">
                  <c:v>Isdin Isdin Sunscreen Adults Derma Crema 50+ 50Ml</c:v>
                </c:pt>
                <c:pt idx="7">
                  <c:v>Beiersdorf Nivea Sunscreen Adults Cosmetics Liquido 50+ 125Ml</c:v>
                </c:pt>
                <c:pt idx="8">
                  <c:v>Beiersdorf Nivea Sunscreen Adults Cosmetics Crema 50+ 200Ml</c:v>
                </c:pt>
                <c:pt idx="9">
                  <c:v>Beiersdorf Nivea Sunscreen Adults Cosmetics Crema 50 50Ml</c:v>
                </c:pt>
                <c:pt idx="10">
                  <c:v>Beiersdorf Nivea Sunscreen Kids Cosmetics Liquido 50+ 200Ml</c:v>
                </c:pt>
                <c:pt idx="11">
                  <c:v>Beiersdorf Nivea Sunscreen Adults Cosmetics Spray Liquido 50 200Ml</c:v>
                </c:pt>
                <c:pt idx="12">
                  <c:v>Others Fabricante Unif. Others Marca Unif. Sunscreen Adults Cosmetics Crema 50+ 125Ml</c:v>
                </c:pt>
                <c:pt idx="13">
                  <c:v>Others Fabricante Unif. Others Marca Unif. Sunscreen Adults Cosmetics Crema 50 100Ml</c:v>
                </c:pt>
                <c:pt idx="14">
                  <c:v>Others Fabricante Unif. Others Marca Unif. Sunscreen Adults Derma Crema 50+ 125Ml</c:v>
                </c:pt>
                <c:pt idx="15">
                  <c:v>Others Fabricante Unif. Others Marca Unif. Sunscreen Kids Derma Crema 50+ 125Ml</c:v>
                </c:pt>
                <c:pt idx="16">
                  <c:v>Others Fabricante Unif. Others Marca Unif. Sunscreen Adults Cosmetics Spray 50+ 170Ml</c:v>
                </c:pt>
              </c:strCache>
            </c:strRef>
          </c:cat>
          <c:val>
            <c:numRef>
              <c:f>Sheet1!$B$2:$B$18</c:f>
              <c:numCache>
                <c:formatCode>General</c:formatCode>
                <c:ptCount val="17"/>
                <c:pt idx="0">
                  <c:v>240.0</c:v>
                </c:pt>
                <c:pt idx="1">
                  <c:v>70.09</c:v>
                </c:pt>
                <c:pt idx="2">
                  <c:v>220.0</c:v>
                </c:pt>
                <c:pt idx="3">
                  <c:v>258.0</c:v>
                </c:pt>
                <c:pt idx="4">
                  <c:v>133.0</c:v>
                </c:pt>
                <c:pt idx="5">
                  <c:v>453.61</c:v>
                </c:pt>
                <c:pt idx="6">
                  <c:v>450.0</c:v>
                </c:pt>
                <c:pt idx="7">
                  <c:v>188.69</c:v>
                </c:pt>
                <c:pt idx="8">
                  <c:v>294.01</c:v>
                </c:pt>
                <c:pt idx="9">
                  <c:v>232.54</c:v>
                </c:pt>
                <c:pt idx="10">
                  <c:v>295.0</c:v>
                </c:pt>
                <c:pt idx="11">
                  <c:v>362.53</c:v>
                </c:pt>
                <c:pt idx="12">
                  <c:v>155.62</c:v>
                </c:pt>
                <c:pt idx="13">
                  <c:v>118.11</c:v>
                </c:pt>
                <c:pt idx="14">
                  <c:v>178.16</c:v>
                </c:pt>
                <c:pt idx="15">
                  <c:v>156.83</c:v>
                </c:pt>
                <c:pt idx="16">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showLegendKey val="0"/>
              <c:showVal val="1"/>
              <c:showCatName val="0"/>
              <c:showSerName val="0"/>
              <c:showPercent val="0"/>
              <c:showBubbleSize val="0"/>
            </c:dLbl>
            <c:dLbl>
              <c:idx val="1"/>
              <c:tx>
                <c:rich>
                  <a:bodyPr/>
                  <a:lstStyle/>
                  <a:p>
                    <a:r>
                      <a:t>234.59</a:t>
                    </a:r>
                  </a:p>
                </c:rich>
              </c:tx>
              <c:showLegendKey val="0"/>
              <c:showVal val="1"/>
              <c:showCatName val="0"/>
              <c:showSerName val="0"/>
              <c:showPercent val="0"/>
              <c:showBubbleSize val="0"/>
            </c:dLbl>
            <c:dLbl>
              <c:idx val="2"/>
              <c:tx>
                <c:rich>
                  <a:bodyPr/>
                  <a:lstStyle/>
                  <a:p>
                    <a:r>
                      <a:t>205.93</a:t>
                    </a:r>
                  </a:p>
                </c:rich>
              </c:tx>
              <c:showLegendKey val="0"/>
              <c:showVal val="1"/>
              <c:showCatName val="0"/>
              <c:showSerName val="0"/>
              <c:showPercent val="0"/>
              <c:showBubbleSize val="0"/>
            </c:dLbl>
            <c:dLbl>
              <c:idx val="3"/>
              <c:tx>
                <c:rich>
                  <a:bodyPr/>
                  <a:lstStyle/>
                  <a:p>
                    <a:r>
                      <a:t>125.0</a:t>
                    </a:r>
                  </a:p>
                </c:rich>
              </c:tx>
              <c:showLegendKey val="0"/>
              <c:showVal val="1"/>
              <c:showCatName val="0"/>
              <c:showSerName val="0"/>
              <c:showPercent val="0"/>
              <c:showBubbleSize val="0"/>
            </c:dLbl>
            <c:dLbl>
              <c:idx val="4"/>
              <c:tx>
                <c:rich>
                  <a:bodyPr/>
                  <a:lstStyle/>
                  <a:p>
                    <a:r>
                      <a:t>453.61</a:t>
                    </a:r>
                  </a:p>
                </c:rich>
              </c:tx>
              <c:showLegendKey val="0"/>
              <c:showVal val="1"/>
              <c:showCatName val="0"/>
              <c:showSerName val="0"/>
              <c:showPercent val="0"/>
              <c:showBubbleSize val="0"/>
            </c:dLbl>
            <c:dLbl>
              <c:idx val="5"/>
              <c:tx>
                <c:rich>
                  <a:bodyPr/>
                  <a:lstStyle/>
                  <a:p>
                    <a:r>
                      <a:t>450.0</a:t>
                    </a:r>
                  </a:p>
                </c:rich>
              </c:tx>
              <c:showLegendKey val="0"/>
              <c:showVal val="1"/>
              <c:showCatName val="0"/>
              <c:showSerName val="0"/>
              <c:showPercent val="0"/>
              <c:showBubbleSize val="0"/>
            </c:dLbl>
            <c:dLbl>
              <c:idx val="6"/>
              <c:tx>
                <c:rich>
                  <a:bodyPr/>
                  <a:lstStyle/>
                  <a:p>
                    <a:r>
                      <a:t>188.69</a:t>
                    </a:r>
                  </a:p>
                </c:rich>
              </c:tx>
              <c:showLegendKey val="0"/>
              <c:showVal val="1"/>
              <c:showCatName val="0"/>
              <c:showSerName val="0"/>
              <c:showPercent val="0"/>
              <c:showBubbleSize val="0"/>
            </c:dLbl>
            <c:dLbl>
              <c:idx val="7"/>
              <c:tx>
                <c:rich>
                  <a:bodyPr/>
                  <a:lstStyle/>
                  <a:p>
                    <a:r>
                      <a:t>294.01</a:t>
                    </a:r>
                  </a:p>
                </c:rich>
              </c:tx>
              <c:showLegendKey val="0"/>
              <c:showVal val="1"/>
              <c:showCatName val="0"/>
              <c:showSerName val="0"/>
              <c:showPercent val="0"/>
              <c:showBubbleSize val="0"/>
            </c:dLbl>
            <c:dLbl>
              <c:idx val="8"/>
              <c:tx>
                <c:rich>
                  <a:bodyPr/>
                  <a:lstStyle/>
                  <a:p>
                    <a:r>
                      <a:t>232.54</a:t>
                    </a:r>
                  </a:p>
                </c:rich>
              </c:tx>
              <c:showLegendKey val="0"/>
              <c:showVal val="1"/>
              <c:showCatName val="0"/>
              <c:showSerName val="0"/>
              <c:showPercent val="0"/>
              <c:showBubbleSize val="0"/>
            </c:dLbl>
            <c:dLbl>
              <c:idx val="9"/>
              <c:tx>
                <c:rich>
                  <a:bodyPr/>
                  <a:lstStyle/>
                  <a:p>
                    <a:r>
                      <a:t>295.0</a:t>
                    </a:r>
                  </a:p>
                </c:rich>
              </c:tx>
              <c:showLegendKey val="0"/>
              <c:showVal val="1"/>
              <c:showCatName val="0"/>
              <c:showSerName val="0"/>
              <c:showPercent val="0"/>
              <c:showBubbleSize val="0"/>
            </c:dLbl>
            <c:dLbl>
              <c:idx val="10"/>
              <c:tx>
                <c:rich>
                  <a:bodyPr/>
                  <a:lstStyle/>
                  <a:p>
                    <a:r>
                      <a:t>362.53</a:t>
                    </a:r>
                  </a:p>
                </c:rich>
              </c:tx>
              <c:showLegendKey val="0"/>
              <c:showVal val="1"/>
              <c:showCatName val="0"/>
              <c:showSerName val="0"/>
              <c:showPercent val="0"/>
              <c:showBubbleSize val="0"/>
            </c:dLbl>
            <c:dLbl>
              <c:idx val="11"/>
              <c:tx>
                <c:rich>
                  <a:bodyPr/>
                  <a:lstStyle/>
                  <a:p>
                    <a:r>
                      <a:t>155.62</a:t>
                    </a:r>
                  </a:p>
                </c:rich>
              </c:tx>
              <c:showLegendKey val="0"/>
              <c:showVal val="1"/>
              <c:showCatName val="0"/>
              <c:showSerName val="0"/>
              <c:showPercent val="0"/>
              <c:showBubbleSize val="0"/>
            </c:dLbl>
            <c:dLbl>
              <c:idx val="12"/>
              <c:tx>
                <c:rich>
                  <a:bodyPr/>
                  <a:lstStyle/>
                  <a:p>
                    <a:r>
                      <a:t>118.11</a:t>
                    </a:r>
                  </a:p>
                </c:rich>
              </c:tx>
              <c:showLegendKey val="0"/>
              <c:showVal val="1"/>
              <c:showCatName val="0"/>
              <c:showSerName val="0"/>
              <c:showPercent val="0"/>
              <c:showBubbleSize val="0"/>
            </c:dLbl>
            <c:dLbl>
              <c:idx val="13"/>
              <c:tx>
                <c:rich>
                  <a:bodyPr/>
                  <a:lstStyle/>
                  <a:p>
                    <a:r>
                      <a:t>178.16</a:t>
                    </a:r>
                  </a:p>
                </c:rich>
              </c:tx>
              <c:showLegendKey val="0"/>
              <c:showVal val="1"/>
              <c:showCatName val="0"/>
              <c:showSerName val="0"/>
              <c:showPercent val="0"/>
              <c:showBubbleSize val="0"/>
            </c:dLbl>
            <c:dLbl>
              <c:idx val="14"/>
              <c:tx>
                <c:rich>
                  <a:bodyPr/>
                  <a:lstStyle/>
                  <a:p>
                    <a:r>
                      <a:t>156.83</a:t>
                    </a:r>
                  </a:p>
                </c:rich>
              </c:tx>
              <c:showLegendKey val="0"/>
              <c:showVal val="1"/>
              <c:showCatName val="0"/>
              <c:showSerName val="0"/>
              <c:showPercent val="0"/>
              <c:showBubbleSize val="0"/>
            </c:dLbl>
            <c:dLbl>
              <c:idx val="15"/>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Advanced Protection Sunscreen Adults Cosmetics Liquido 50+ 60Ml</c:v>
                </c:pt>
                <c:pt idx="1">
                  <c:v>Edgewell Banana Boat Mineral Sunscreen Adults Cosmetics Locion 50 60Ml</c:v>
                </c:pt>
                <c:pt idx="2">
                  <c:v>Edgewell Banana Boat Banded Pack Banded Pack 2X Sunscreen Multi 50+ 170Ml</c:v>
                </c:pt>
                <c:pt idx="3">
                  <c:v>Edgewell Banana Boat Gentle Protect Sunscreen Adults Cosmetics Locion 50 180Ml</c:v>
                </c:pt>
                <c:pt idx="4">
                  <c:v>Isdin Isdin Sunscreen Adults Derma Crema 50 50Ml</c:v>
                </c:pt>
                <c:pt idx="5">
                  <c:v>Isdin Isdin Sunscreen Adults Derma Crema 50+ 50Ml</c:v>
                </c:pt>
                <c:pt idx="6">
                  <c:v>Beiersdorf Nivea Sunscreen Adults Cosmetics Liquido 50+ 125Ml</c:v>
                </c:pt>
                <c:pt idx="7">
                  <c:v>Beiersdorf Nivea Sunscreen Adults Cosmetics Crema 50+ 200Ml</c:v>
                </c:pt>
                <c:pt idx="8">
                  <c:v>Beiersdorf Nivea Sunscreen Adults Cosmetics Crema 50 50Ml</c:v>
                </c:pt>
                <c:pt idx="9">
                  <c:v>Beiersdorf Nivea Sunscreen Kids Cosmetics Liquido 50+ 200Ml</c:v>
                </c:pt>
                <c:pt idx="10">
                  <c:v>Beiersdorf Nivea Sunscreen Adults Cosmetics Spray Liquido 50 200Ml</c:v>
                </c:pt>
                <c:pt idx="11">
                  <c:v>Others Fabricante Unif. Others Marca Unif. Sunscreen Adults Cosmetics Crema 50+ 125Ml</c:v>
                </c:pt>
                <c:pt idx="12">
                  <c:v>Others Fabricante Unif. Others Marca Unif. Sunscreen Adults Cosmetics Crema 50 100Ml</c:v>
                </c:pt>
                <c:pt idx="13">
                  <c:v>Others Fabricante Unif. Others Marca Unif. Sunscreen Adults Derma Crema 50+ 125Ml</c:v>
                </c:pt>
                <c:pt idx="14">
                  <c:v>Others Fabricante Unif. Others Marca Unif. Sunscreen Kids Derma Crema 50+ 125Ml</c:v>
                </c:pt>
                <c:pt idx="15">
                  <c:v>Others Fabricante Unif. Others Marca Unif. Sunscreen Adults Cosmetics Spray 50+ 170Ml</c:v>
                </c:pt>
              </c:strCache>
            </c:strRef>
          </c:cat>
          <c:val>
            <c:numRef>
              <c:f>Sheet1!$B$2:$B$17</c:f>
              <c:numCache>
                <c:formatCode>General</c:formatCode>
                <c:ptCount val="16"/>
                <c:pt idx="0">
                  <c:v>96.8</c:v>
                </c:pt>
                <c:pt idx="1">
                  <c:v>234.59</c:v>
                </c:pt>
                <c:pt idx="2">
                  <c:v>205.93</c:v>
                </c:pt>
                <c:pt idx="3">
                  <c:v>125.0</c:v>
                </c:pt>
                <c:pt idx="4">
                  <c:v>453.61</c:v>
                </c:pt>
                <c:pt idx="5">
                  <c:v>450.0</c:v>
                </c:pt>
                <c:pt idx="6">
                  <c:v>188.69</c:v>
                </c:pt>
                <c:pt idx="7">
                  <c:v>294.01</c:v>
                </c:pt>
                <c:pt idx="8">
                  <c:v>232.54</c:v>
                </c:pt>
                <c:pt idx="9">
                  <c:v>295.0</c:v>
                </c:pt>
                <c:pt idx="10">
                  <c:v>362.53</c:v>
                </c:pt>
                <c:pt idx="11">
                  <c:v>155.62</c:v>
                </c:pt>
                <c:pt idx="12">
                  <c:v>118.11</c:v>
                </c:pt>
                <c:pt idx="13">
                  <c:v>178.16</c:v>
                </c:pt>
                <c:pt idx="14">
                  <c:v>156.83</c:v>
                </c:pt>
                <c:pt idx="15">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Antioxidant Sunscreen Adults Cosmetics Liquido 50+ 50Ml</c:v>
                </c:pt>
              </c:strCache>
            </c:strRef>
          </c:cat>
          <c:val>
            <c:numRef>
              <c:f>Sheet1!$B$2:$B$2</c:f>
              <c:numCache>
                <c:formatCode>General</c:formatCode>
                <c:ptCount val="1"/>
                <c:pt idx="0">
                  <c:v>36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189.54</a:t>
                    </a:r>
                  </a:p>
                </c:rich>
              </c:tx>
              <c:showLegendKey val="0"/>
              <c:showVal val="1"/>
              <c:showCatName val="0"/>
              <c:showSerName val="0"/>
              <c:showPercent val="0"/>
              <c:showBubbleSize val="0"/>
            </c:dLbl>
            <c:dLbl>
              <c:idx val="4"/>
              <c:tx>
                <c:rich>
                  <a:bodyPr/>
                  <a:lstStyle/>
                  <a:p>
                    <a:r>
                      <a:t>101.15</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1</c:v>
                </c:pt>
                <c:pt idx="1">
                  <c:v>312.14</c:v>
                </c:pt>
                <c:pt idx="2">
                  <c:v>305.29</c:v>
                </c:pt>
                <c:pt idx="3">
                  <c:v>189.54</c:v>
                </c:pt>
                <c:pt idx="4">
                  <c:v>101.15</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326.59</a:t>
                    </a:r>
                  </a:p>
                </c:rich>
              </c:tx>
              <c:showLegendKey val="0"/>
              <c:showVal val="1"/>
              <c:showCatName val="0"/>
              <c:showSerName val="0"/>
              <c:showPercent val="0"/>
              <c:showBubbleSize val="0"/>
            </c:dLbl>
            <c:dLbl>
              <c:idx val="2"/>
              <c:tx>
                <c:rich>
                  <a:bodyPr/>
                  <a:lstStyle/>
                  <a:p>
                    <a:r>
                      <a:t>290.34</a:t>
                    </a:r>
                  </a:p>
                </c:rich>
              </c:tx>
              <c:showLegendKey val="0"/>
              <c:showVal val="1"/>
              <c:showCatName val="0"/>
              <c:showSerName val="0"/>
              <c:showPercent val="0"/>
              <c:showBubbleSize val="0"/>
            </c:dLbl>
            <c:dLbl>
              <c:idx val="3"/>
              <c:tx>
                <c:rich>
                  <a:bodyPr/>
                  <a:lstStyle/>
                  <a:p>
                    <a:r>
                      <a:t>268.26</a:t>
                    </a:r>
                  </a:p>
                </c:rich>
              </c:tx>
              <c:showLegendKey val="0"/>
              <c:showVal val="1"/>
              <c:showCatName val="0"/>
              <c:showSerName val="0"/>
              <c:showPercent val="0"/>
              <c:showBubbleSize val="0"/>
            </c:dLbl>
            <c:dLbl>
              <c:idx val="4"/>
              <c:tx>
                <c:rich>
                  <a:bodyPr/>
                  <a:lstStyle/>
                  <a:p>
                    <a:r>
                      <a:t>311.93</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81.61</c:v>
                </c:pt>
                <c:pt idx="1">
                  <c:v>326.59</c:v>
                </c:pt>
                <c:pt idx="2">
                  <c:v>290.34</c:v>
                </c:pt>
                <c:pt idx="3">
                  <c:v>268.26</c:v>
                </c:pt>
                <c:pt idx="4">
                  <c:v>311.93</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653.87</a:t>
                    </a:r>
                  </a:p>
                </c:rich>
              </c:tx>
              <c:showLegendKey val="0"/>
              <c:showVal val="1"/>
              <c:showCatName val="0"/>
              <c:showSerName val="0"/>
              <c:showPercent val="0"/>
              <c:showBubbleSize val="0"/>
            </c:dLbl>
            <c:dLbl>
              <c:idx val="5"/>
              <c:tx>
                <c:rich>
                  <a:bodyPr/>
                  <a:lstStyle/>
                  <a:p>
                    <a:r>
                      <a:t>648.13</a:t>
                    </a:r>
                  </a:p>
                </c:rich>
              </c:tx>
              <c:showLegendKey val="0"/>
              <c:showVal val="1"/>
              <c:showCatName val="0"/>
              <c:showSerName val="0"/>
              <c:showPercent val="0"/>
              <c:showBubbleSize val="0"/>
            </c:dLbl>
            <c:dLbl>
              <c:idx val="6"/>
              <c:tx>
                <c:rich>
                  <a:bodyPr/>
                  <a:lstStyle/>
                  <a:p>
                    <a:r>
                      <a:t>660.8</a:t>
                    </a:r>
                  </a:p>
                </c:rich>
              </c:tx>
              <c:showLegendKey val="0"/>
              <c:showVal val="1"/>
              <c:showCatName val="0"/>
              <c:showSerName val="0"/>
              <c:showPercent val="0"/>
              <c:showBubbleSize val="0"/>
            </c:dLbl>
            <c:dLbl>
              <c:idx val="7"/>
              <c:tx>
                <c:rich>
                  <a:bodyPr/>
                  <a:lstStyle/>
                  <a:p>
                    <a:r>
                      <a:t>645.72</a:t>
                    </a:r>
                  </a:p>
                </c:rich>
              </c:tx>
              <c:showLegendKey val="0"/>
              <c:showVal val="1"/>
              <c:showCatName val="0"/>
              <c:showSerName val="0"/>
              <c:showPercent val="0"/>
              <c:showBubbleSize val="0"/>
            </c:dLbl>
            <c:dLbl>
              <c:idx val="8"/>
              <c:tx>
                <c:rich>
                  <a:bodyPr/>
                  <a:lstStyle/>
                  <a:p>
                    <a:r>
                      <a:t>464.7</a:t>
                    </a:r>
                  </a:p>
                </c:rich>
              </c:tx>
              <c:showLegendKey val="0"/>
              <c:showVal val="1"/>
              <c:showCatName val="0"/>
              <c:showSerName val="0"/>
              <c:showPercent val="0"/>
              <c:showBubbleSize val="0"/>
            </c:dLbl>
            <c:dLbl>
              <c:idx val="9"/>
              <c:tx>
                <c:rich>
                  <a:bodyPr/>
                  <a:lstStyle/>
                  <a:p>
                    <a:r>
                      <a:t>379.06</a:t>
                    </a:r>
                  </a:p>
                </c:rich>
              </c:tx>
              <c:showLegendKey val="0"/>
              <c:showVal val="1"/>
              <c:showCatName val="0"/>
              <c:showSerName val="0"/>
              <c:showPercent val="0"/>
              <c:showBubbleSize val="0"/>
            </c:dLbl>
            <c:dLbl>
              <c:idx val="10"/>
              <c:tx>
                <c:rich>
                  <a:bodyPr/>
                  <a:lstStyle/>
                  <a:p>
                    <a:r>
                      <a:t>364.11</a:t>
                    </a:r>
                  </a:p>
                </c:rich>
              </c:tx>
              <c:showLegendKey val="0"/>
              <c:showVal val="1"/>
              <c:showCatName val="0"/>
              <c:showSerName val="0"/>
              <c:showPercent val="0"/>
              <c:showBubbleSize val="0"/>
            </c:dLbl>
            <c:dLbl>
              <c:idx val="11"/>
              <c:tx>
                <c:rich>
                  <a:bodyPr/>
                  <a:lstStyle/>
                  <a:p>
                    <a:r>
                      <a:t>268.43</a:t>
                    </a:r>
                  </a:p>
                </c:rich>
              </c:tx>
              <c:showLegendKey val="0"/>
              <c:showVal val="1"/>
              <c:showCatName val="0"/>
              <c:showSerName val="0"/>
              <c:showPercent val="0"/>
              <c:showBubbleSize val="0"/>
            </c:dLbl>
            <c:dLbl>
              <c:idx val="12"/>
              <c:tx>
                <c:rich>
                  <a:bodyPr/>
                  <a:lstStyle/>
                  <a:p>
                    <a:r>
                      <a:t>463.05</a:t>
                    </a:r>
                  </a:p>
                </c:rich>
              </c:tx>
              <c:showLegendKey val="0"/>
              <c:showVal val="1"/>
              <c:showCatName val="0"/>
              <c:showSerName val="0"/>
              <c:showPercent val="0"/>
              <c:showBubbleSize val="0"/>
            </c:dLbl>
            <c:dLbl>
              <c:idx val="13"/>
              <c:tx>
                <c:rich>
                  <a:bodyPr/>
                  <a:lstStyle/>
                  <a:p>
                    <a:r>
                      <a:t>397.59</a:t>
                    </a:r>
                  </a:p>
                </c:rich>
              </c:tx>
              <c:showLegendKey val="0"/>
              <c:showVal val="1"/>
              <c:showCatName val="0"/>
              <c:showSerName val="0"/>
              <c:showPercent val="0"/>
              <c:showBubbleSize val="0"/>
            </c:dLbl>
            <c:dLbl>
              <c:idx val="14"/>
              <c:tx>
                <c:rich>
                  <a:bodyPr/>
                  <a:lstStyle/>
                  <a:p>
                    <a:r>
                      <a:t>305.54</a:t>
                    </a:r>
                  </a:p>
                </c:rich>
              </c:tx>
              <c:showLegendKey val="0"/>
              <c:showVal val="1"/>
              <c:showCatName val="0"/>
              <c:showSerName val="0"/>
              <c:showPercent val="0"/>
              <c:showBubbleSize val="0"/>
            </c:dLbl>
            <c:dLbl>
              <c:idx val="15"/>
              <c:tx>
                <c:rich>
                  <a:bodyPr/>
                  <a:lstStyle/>
                  <a:p>
                    <a:r>
                      <a:t>271.17</a:t>
                    </a:r>
                  </a:p>
                </c:rich>
              </c:tx>
              <c:showLegendKey val="0"/>
              <c:showVal val="1"/>
              <c:showCatName val="0"/>
              <c:showSerName val="0"/>
              <c:showPercent val="0"/>
              <c:showBubbleSize val="0"/>
            </c:dLbl>
            <c:dLbl>
              <c:idx val="16"/>
              <c:tx>
                <c:rich>
                  <a:bodyPr/>
                  <a:lstStyle/>
                  <a:p>
                    <a:r>
                      <a:t>300.61</a:t>
                    </a:r>
                  </a:p>
                </c:rich>
              </c:tx>
              <c:showLegendKey val="0"/>
              <c:showVal val="1"/>
              <c:showCatName val="0"/>
              <c:showSerName val="0"/>
              <c:showPercent val="0"/>
              <c:showBubbleSize val="0"/>
            </c:dLbl>
            <c:dLbl>
              <c:idx val="17"/>
              <c:tx>
                <c:rich>
                  <a:bodyPr/>
                  <a:lstStyle/>
                  <a:p>
                    <a:r>
                      <a:t>305.45</a:t>
                    </a:r>
                  </a:p>
                </c:rich>
              </c:tx>
              <c:showLegendKey val="0"/>
              <c:showVal val="1"/>
              <c:showCatName val="0"/>
              <c:showSerName val="0"/>
              <c:showPercent val="0"/>
              <c:showBubbleSize val="0"/>
            </c:dLbl>
            <c:dLbl>
              <c:idx val="18"/>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65.47</c:v>
                </c:pt>
                <c:pt idx="1">
                  <c:v>278.73</c:v>
                </c:pt>
                <c:pt idx="2">
                  <c:v>251.42</c:v>
                </c:pt>
                <c:pt idx="3">
                  <c:v>242.11</c:v>
                </c:pt>
                <c:pt idx="4">
                  <c:v>653.87</c:v>
                </c:pt>
                <c:pt idx="5">
                  <c:v>648.13</c:v>
                </c:pt>
                <c:pt idx="6">
                  <c:v>660.8</c:v>
                </c:pt>
                <c:pt idx="7">
                  <c:v>645.72</c:v>
                </c:pt>
                <c:pt idx="8">
                  <c:v>464.7</c:v>
                </c:pt>
                <c:pt idx="9">
                  <c:v>379.06</c:v>
                </c:pt>
                <c:pt idx="10">
                  <c:v>364.11</c:v>
                </c:pt>
                <c:pt idx="11">
                  <c:v>268.43</c:v>
                </c:pt>
                <c:pt idx="12">
                  <c:v>463.05</c:v>
                </c:pt>
                <c:pt idx="13">
                  <c:v>397.59</c:v>
                </c:pt>
                <c:pt idx="14">
                  <c:v>305.54</c:v>
                </c:pt>
                <c:pt idx="15">
                  <c:v>271.17</c:v>
                </c:pt>
                <c:pt idx="16">
                  <c:v>300.61</c:v>
                </c:pt>
                <c:pt idx="17">
                  <c:v>305.45</c:v>
                </c:pt>
                <c:pt idx="18">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301.59</a:t>
                    </a:r>
                  </a:p>
                </c:rich>
              </c:tx>
              <c:showLegendKey val="0"/>
              <c:showVal val="1"/>
              <c:showCatName val="0"/>
              <c:showSerName val="0"/>
              <c:showPercent val="0"/>
              <c:showBubbleSize val="0"/>
            </c:dLbl>
            <c:dLbl>
              <c:idx val="2"/>
              <c:tx>
                <c:rich>
                  <a:bodyPr/>
                  <a:lstStyle/>
                  <a:p>
                    <a:r>
                      <a:t>305.15</a:t>
                    </a:r>
                  </a:p>
                </c:rich>
              </c:tx>
              <c:showLegendKey val="0"/>
              <c:showVal val="1"/>
              <c:showCatName val="0"/>
              <c:showSerName val="0"/>
              <c:showPercent val="0"/>
              <c:showBubbleSize val="0"/>
            </c:dLbl>
            <c:dLbl>
              <c:idx val="3"/>
              <c:tx>
                <c:rich>
                  <a:bodyPr/>
                  <a:lstStyle/>
                  <a:p>
                    <a:r>
                      <a:t>325.25</a:t>
                    </a:r>
                  </a:p>
                </c:rich>
              </c:tx>
              <c:showLegendKey val="0"/>
              <c:showVal val="1"/>
              <c:showCatName val="0"/>
              <c:showSerName val="0"/>
              <c:showPercent val="0"/>
              <c:showBubbleSize val="0"/>
            </c:dLbl>
            <c:dLbl>
              <c:idx val="4"/>
              <c:tx>
                <c:rich>
                  <a:bodyPr/>
                  <a:lstStyle/>
                  <a:p>
                    <a:r>
                      <a:t>311.89</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28</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4</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1</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Ozono Sunscreen Adults Cosmetics Spray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2.7</c:v>
                </c:pt>
                <c:pt idx="1">
                  <c:v>301.59</c:v>
                </c:pt>
                <c:pt idx="2">
                  <c:v>305.15</c:v>
                </c:pt>
                <c:pt idx="3">
                  <c:v>325.25</c:v>
                </c:pt>
                <c:pt idx="4">
                  <c:v>311.89</c:v>
                </c:pt>
                <c:pt idx="5">
                  <c:v>635.69</c:v>
                </c:pt>
                <c:pt idx="6">
                  <c:v>636.86</c:v>
                </c:pt>
                <c:pt idx="7">
                  <c:v>646.75</c:v>
                </c:pt>
                <c:pt idx="8">
                  <c:v>665.28</c:v>
                </c:pt>
                <c:pt idx="9">
                  <c:v>462.71</c:v>
                </c:pt>
                <c:pt idx="10">
                  <c:v>622.04</c:v>
                </c:pt>
                <c:pt idx="11">
                  <c:v>585.67</c:v>
                </c:pt>
                <c:pt idx="12">
                  <c:v>588.76</c:v>
                </c:pt>
                <c:pt idx="13">
                  <c:v>831.48</c:v>
                </c:pt>
                <c:pt idx="14">
                  <c:v>534.15</c:v>
                </c:pt>
                <c:pt idx="15">
                  <c:v>276.8</c:v>
                </c:pt>
                <c:pt idx="16">
                  <c:v>316.96</c:v>
                </c:pt>
                <c:pt idx="17">
                  <c:v>301.21</c:v>
                </c:pt>
                <c:pt idx="18">
                  <c:v>322.3</c:v>
                </c:pt>
                <c:pt idx="19">
                  <c:v>18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showLegendKey val="0"/>
              <c:showVal val="1"/>
              <c:showCatName val="0"/>
              <c:showSerName val="0"/>
              <c:showPercent val="0"/>
              <c:showBubbleSize val="0"/>
            </c:dLbl>
            <c:dLbl>
              <c:idx val="1"/>
              <c:tx>
                <c:rich>
                  <a:bodyPr/>
                  <a:lstStyle/>
                  <a:p>
                    <a:r>
                      <a:t>326.36</a:t>
                    </a:r>
                  </a:p>
                </c:rich>
              </c:tx>
              <c:showLegendKey val="0"/>
              <c:showVal val="1"/>
              <c:showCatName val="0"/>
              <c:showSerName val="0"/>
              <c:showPercent val="0"/>
              <c:showBubbleSize val="0"/>
            </c:dLbl>
            <c:dLbl>
              <c:idx val="2"/>
              <c:tx>
                <c:rich>
                  <a:bodyPr/>
                  <a:lstStyle/>
                  <a:p>
                    <a:r>
                      <a:t>283.81</a:t>
                    </a:r>
                  </a:p>
                </c:rich>
              </c:tx>
              <c:showLegendKey val="0"/>
              <c:showVal val="1"/>
              <c:showCatName val="0"/>
              <c:showSerName val="0"/>
              <c:showPercent val="0"/>
              <c:showBubbleSize val="0"/>
            </c:dLbl>
            <c:dLbl>
              <c:idx val="3"/>
              <c:tx>
                <c:rich>
                  <a:bodyPr/>
                  <a:lstStyle/>
                  <a:p>
                    <a:r>
                      <a:t>302.86</a:t>
                    </a:r>
                  </a:p>
                </c:rich>
              </c:tx>
              <c:showLegendKey val="0"/>
              <c:showVal val="1"/>
              <c:showCatName val="0"/>
              <c:showSerName val="0"/>
              <c:showPercent val="0"/>
              <c:showBubbleSize val="0"/>
            </c:dLbl>
            <c:dLbl>
              <c:idx val="4"/>
              <c:tx>
                <c:rich>
                  <a:bodyPr/>
                  <a:lstStyle/>
                  <a:p>
                    <a:r>
                      <a:t>307.23</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28</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4</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1</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96.61</c:v>
                </c:pt>
                <c:pt idx="1">
                  <c:v>326.36</c:v>
                </c:pt>
                <c:pt idx="2">
                  <c:v>283.81</c:v>
                </c:pt>
                <c:pt idx="3">
                  <c:v>302.86</c:v>
                </c:pt>
                <c:pt idx="4">
                  <c:v>307.23</c:v>
                </c:pt>
                <c:pt idx="5">
                  <c:v>635.69</c:v>
                </c:pt>
                <c:pt idx="6">
                  <c:v>636.86</c:v>
                </c:pt>
                <c:pt idx="7">
                  <c:v>646.75</c:v>
                </c:pt>
                <c:pt idx="8">
                  <c:v>665.28</c:v>
                </c:pt>
                <c:pt idx="9">
                  <c:v>462.71</c:v>
                </c:pt>
                <c:pt idx="10">
                  <c:v>622.04</c:v>
                </c:pt>
                <c:pt idx="11">
                  <c:v>585.67</c:v>
                </c:pt>
                <c:pt idx="12">
                  <c:v>588.76</c:v>
                </c:pt>
                <c:pt idx="13">
                  <c:v>831.48</c:v>
                </c:pt>
                <c:pt idx="14">
                  <c:v>534.15</c:v>
                </c:pt>
                <c:pt idx="15">
                  <c:v>276.8</c:v>
                </c:pt>
                <c:pt idx="16">
                  <c:v>316.96</c:v>
                </c:pt>
                <c:pt idx="17">
                  <c:v>301.21</c:v>
                </c:pt>
                <c:pt idx="18">
                  <c:v>322.3</c:v>
                </c:pt>
                <c:pt idx="19">
                  <c:v>18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showLegendKey val="0"/>
              <c:showVal val="1"/>
              <c:showCatName val="0"/>
              <c:showSerName val="0"/>
              <c:showPercent val="0"/>
              <c:showBubbleSize val="0"/>
            </c:dLbl>
            <c:dLbl>
              <c:idx val="1"/>
              <c:tx>
                <c:rich>
                  <a:bodyPr/>
                  <a:lstStyle/>
                  <a:p>
                    <a:r>
                      <a:t>280.19</a:t>
                    </a:r>
                  </a:p>
                </c:rich>
              </c:tx>
              <c:showLegendKey val="0"/>
              <c:showVal val="1"/>
              <c:showCatName val="0"/>
              <c:showSerName val="0"/>
              <c:showPercent val="0"/>
              <c:showBubbleSize val="0"/>
            </c:dLbl>
            <c:dLbl>
              <c:idx val="2"/>
              <c:tx>
                <c:rich>
                  <a:bodyPr/>
                  <a:lstStyle/>
                  <a:p>
                    <a:r>
                      <a:t>230.57</a:t>
                    </a:r>
                  </a:p>
                </c:rich>
              </c:tx>
              <c:showLegendKey val="0"/>
              <c:showVal val="1"/>
              <c:showCatName val="0"/>
              <c:showSerName val="0"/>
              <c:showPercent val="0"/>
              <c:showBubbleSize val="0"/>
            </c:dLbl>
            <c:dLbl>
              <c:idx val="3"/>
              <c:tx>
                <c:rich>
                  <a:bodyPr/>
                  <a:lstStyle/>
                  <a:p>
                    <a:r>
                      <a:t>238.78</a:t>
                    </a:r>
                  </a:p>
                </c:rich>
              </c:tx>
              <c:showLegendKey val="0"/>
              <c:showVal val="1"/>
              <c:showCatName val="0"/>
              <c:showSerName val="0"/>
              <c:showPercent val="0"/>
              <c:showBubbleSize val="0"/>
            </c:dLbl>
            <c:dLbl>
              <c:idx val="4"/>
              <c:tx>
                <c:rich>
                  <a:bodyPr/>
                  <a:lstStyle/>
                  <a:p>
                    <a:r>
                      <a:t>406.0</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46.75</a:t>
                    </a:r>
                  </a:p>
                </c:rich>
              </c:tx>
              <c:showLegendKey val="0"/>
              <c:showVal val="1"/>
              <c:showCatName val="0"/>
              <c:showSerName val="0"/>
              <c:showPercent val="0"/>
              <c:showBubbleSize val="0"/>
            </c:dLbl>
            <c:dLbl>
              <c:idx val="8"/>
              <c:tx>
                <c:rich>
                  <a:bodyPr/>
                  <a:lstStyle/>
                  <a:p>
                    <a:r>
                      <a:t>665.28</a:t>
                    </a:r>
                  </a:p>
                </c:rich>
              </c:tx>
              <c:showLegendKey val="0"/>
              <c:showVal val="1"/>
              <c:showCatName val="0"/>
              <c:showSerName val="0"/>
              <c:showPercent val="0"/>
              <c:showBubbleSize val="0"/>
            </c:dLbl>
            <c:dLbl>
              <c:idx val="9"/>
              <c:tx>
                <c:rich>
                  <a:bodyPr/>
                  <a:lstStyle/>
                  <a:p>
                    <a:r>
                      <a:t>462.71</a:t>
                    </a:r>
                  </a:p>
                </c:rich>
              </c:tx>
              <c:showLegendKey val="0"/>
              <c:showVal val="1"/>
              <c:showCatName val="0"/>
              <c:showSerName val="0"/>
              <c:showPercent val="0"/>
              <c:showBubbleSize val="0"/>
            </c:dLbl>
            <c:dLbl>
              <c:idx val="10"/>
              <c:tx>
                <c:rich>
                  <a:bodyPr/>
                  <a:lstStyle/>
                  <a:p>
                    <a:r>
                      <a:t>622.04</a:t>
                    </a:r>
                  </a:p>
                </c:rich>
              </c:tx>
              <c:showLegendKey val="0"/>
              <c:showVal val="1"/>
              <c:showCatName val="0"/>
              <c:showSerName val="0"/>
              <c:showPercent val="0"/>
              <c:showBubbleSize val="0"/>
            </c:dLbl>
            <c:dLbl>
              <c:idx val="11"/>
              <c:tx>
                <c:rich>
                  <a:bodyPr/>
                  <a:lstStyle/>
                  <a:p>
                    <a:r>
                      <a:t>585.67</a:t>
                    </a:r>
                  </a:p>
                </c:rich>
              </c:tx>
              <c:showLegendKey val="0"/>
              <c:showVal val="1"/>
              <c:showCatName val="0"/>
              <c:showSerName val="0"/>
              <c:showPercent val="0"/>
              <c:showBubbleSize val="0"/>
            </c:dLbl>
            <c:dLbl>
              <c:idx val="12"/>
              <c:tx>
                <c:rich>
                  <a:bodyPr/>
                  <a:lstStyle/>
                  <a:p>
                    <a:r>
                      <a:t>588.76</a:t>
                    </a:r>
                  </a:p>
                </c:rich>
              </c:tx>
              <c:showLegendKey val="0"/>
              <c:showVal val="1"/>
              <c:showCatName val="0"/>
              <c:showSerName val="0"/>
              <c:showPercent val="0"/>
              <c:showBubbleSize val="0"/>
            </c:dLbl>
            <c:dLbl>
              <c:idx val="13"/>
              <c:tx>
                <c:rich>
                  <a:bodyPr/>
                  <a:lstStyle/>
                  <a:p>
                    <a:r>
                      <a:t>831.48</a:t>
                    </a:r>
                  </a:p>
                </c:rich>
              </c:tx>
              <c:showLegendKey val="0"/>
              <c:showVal val="1"/>
              <c:showCatName val="0"/>
              <c:showSerName val="0"/>
              <c:showPercent val="0"/>
              <c:showBubbleSize val="0"/>
            </c:dLbl>
            <c:dLbl>
              <c:idx val="14"/>
              <c:tx>
                <c:rich>
                  <a:bodyPr/>
                  <a:lstStyle/>
                  <a:p>
                    <a:r>
                      <a:t>534.15</a:t>
                    </a:r>
                  </a:p>
                </c:rich>
              </c:tx>
              <c:showLegendKey val="0"/>
              <c:showVal val="1"/>
              <c:showCatName val="0"/>
              <c:showSerName val="0"/>
              <c:showPercent val="0"/>
              <c:showBubbleSize val="0"/>
            </c:dLbl>
            <c:dLbl>
              <c:idx val="15"/>
              <c:tx>
                <c:rich>
                  <a:bodyPr/>
                  <a:lstStyle/>
                  <a:p>
                    <a:r>
                      <a:t>276.8</a:t>
                    </a:r>
                  </a:p>
                </c:rich>
              </c:tx>
              <c:showLegendKey val="0"/>
              <c:showVal val="1"/>
              <c:showCatName val="0"/>
              <c:showSerName val="0"/>
              <c:showPercent val="0"/>
              <c:showBubbleSize val="0"/>
            </c:dLbl>
            <c:dLbl>
              <c:idx val="16"/>
              <c:tx>
                <c:rich>
                  <a:bodyPr/>
                  <a:lstStyle/>
                  <a:p>
                    <a:r>
                      <a:t>316.96</a:t>
                    </a:r>
                  </a:p>
                </c:rich>
              </c:tx>
              <c:showLegendKey val="0"/>
              <c:showVal val="1"/>
              <c:showCatName val="0"/>
              <c:showSerName val="0"/>
              <c:showPercent val="0"/>
              <c:showBubbleSize val="0"/>
            </c:dLbl>
            <c:dLbl>
              <c:idx val="17"/>
              <c:tx>
                <c:rich>
                  <a:bodyPr/>
                  <a:lstStyle/>
                  <a:p>
                    <a:r>
                      <a:t>301.21</a:t>
                    </a:r>
                  </a:p>
                </c:rich>
              </c:tx>
              <c:showLegendKey val="0"/>
              <c:showVal val="1"/>
              <c:showCatName val="0"/>
              <c:showSerName val="0"/>
              <c:showPercent val="0"/>
              <c:showBubbleSize val="0"/>
            </c:dLbl>
            <c:dLbl>
              <c:idx val="18"/>
              <c:tx>
                <c:rich>
                  <a:bodyPr/>
                  <a:lstStyle/>
                  <a:p>
                    <a:r>
                      <a:t>322.3</a:t>
                    </a:r>
                  </a:p>
                </c:rich>
              </c:tx>
              <c:showLegendKey val="0"/>
              <c:showVal val="1"/>
              <c:showCatName val="0"/>
              <c:showSerName val="0"/>
              <c:showPercent val="0"/>
              <c:showBubbleSize val="0"/>
            </c:dLbl>
            <c:dLbl>
              <c:idx val="19"/>
              <c:tx>
                <c:rich>
                  <a:bodyPr/>
                  <a:lstStyle/>
                  <a:p>
                    <a:r>
                      <a:t>186.8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42.81</c:v>
                </c:pt>
                <c:pt idx="1">
                  <c:v>280.19</c:v>
                </c:pt>
                <c:pt idx="2">
                  <c:v>230.57</c:v>
                </c:pt>
                <c:pt idx="3">
                  <c:v>238.78</c:v>
                </c:pt>
                <c:pt idx="4">
                  <c:v>406.0</c:v>
                </c:pt>
                <c:pt idx="5">
                  <c:v>635.69</c:v>
                </c:pt>
                <c:pt idx="6">
                  <c:v>636.86</c:v>
                </c:pt>
                <c:pt idx="7">
                  <c:v>646.75</c:v>
                </c:pt>
                <c:pt idx="8">
                  <c:v>665.28</c:v>
                </c:pt>
                <c:pt idx="9">
                  <c:v>462.71</c:v>
                </c:pt>
                <c:pt idx="10">
                  <c:v>622.04</c:v>
                </c:pt>
                <c:pt idx="11">
                  <c:v>585.67</c:v>
                </c:pt>
                <c:pt idx="12">
                  <c:v>588.76</c:v>
                </c:pt>
                <c:pt idx="13">
                  <c:v>831.48</c:v>
                </c:pt>
                <c:pt idx="14">
                  <c:v>534.15</c:v>
                </c:pt>
                <c:pt idx="15">
                  <c:v>276.8</c:v>
                </c:pt>
                <c:pt idx="16">
                  <c:v>316.96</c:v>
                </c:pt>
                <c:pt idx="17">
                  <c:v>301.21</c:v>
                </c:pt>
                <c:pt idx="18">
                  <c:v>322.3</c:v>
                </c:pt>
                <c:pt idx="19">
                  <c:v>186.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306.84</a:t>
                    </a:r>
                  </a:p>
                </c:rich>
              </c:tx>
              <c:showLegendKey val="0"/>
              <c:showVal val="1"/>
              <c:showCatName val="0"/>
              <c:showSerName val="0"/>
              <c:showPercent val="0"/>
              <c:showBubbleSize val="0"/>
            </c:dLbl>
            <c:dLbl>
              <c:idx val="2"/>
              <c:tx>
                <c:rich>
                  <a:bodyPr/>
                  <a:lstStyle/>
                  <a:p>
                    <a:r>
                      <a:t>308.69</a:t>
                    </a:r>
                  </a:p>
                </c:rich>
              </c:tx>
              <c:showLegendKey val="0"/>
              <c:showVal val="1"/>
              <c:showCatName val="0"/>
              <c:showSerName val="0"/>
              <c:showPercent val="0"/>
              <c:showBubbleSize val="0"/>
            </c:dLbl>
            <c:dLbl>
              <c:idx val="3"/>
              <c:tx>
                <c:rich>
                  <a:bodyPr/>
                  <a:lstStyle/>
                  <a:p>
                    <a:r>
                      <a:t>334.03</a:t>
                    </a:r>
                  </a:p>
                </c:rich>
              </c:tx>
              <c:showLegendKey val="0"/>
              <c:showVal val="1"/>
              <c:showCatName val="0"/>
              <c:showSerName val="0"/>
              <c:showPercent val="0"/>
              <c:showBubbleSize val="0"/>
            </c:dLbl>
            <c:dLbl>
              <c:idx val="4"/>
              <c:tx>
                <c:rich>
                  <a:bodyPr/>
                  <a:lstStyle/>
                  <a:p>
                    <a:r>
                      <a:t>189.32</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6</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6</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2</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Sheer Touch Sunscreen Adults Cosmetics Crema 50 1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74</c:v>
                </c:pt>
                <c:pt idx="1">
                  <c:v>306.84</c:v>
                </c:pt>
                <c:pt idx="2">
                  <c:v>308.69</c:v>
                </c:pt>
                <c:pt idx="3">
                  <c:v>334.03</c:v>
                </c:pt>
                <c:pt idx="4">
                  <c:v>189.32</c:v>
                </c:pt>
                <c:pt idx="5">
                  <c:v>635.1</c:v>
                </c:pt>
                <c:pt idx="6">
                  <c:v>641.3</c:v>
                </c:pt>
                <c:pt idx="7">
                  <c:v>647.88</c:v>
                </c:pt>
                <c:pt idx="8">
                  <c:v>648.86</c:v>
                </c:pt>
                <c:pt idx="9">
                  <c:v>465.44</c:v>
                </c:pt>
                <c:pt idx="10">
                  <c:v>629.46</c:v>
                </c:pt>
                <c:pt idx="11">
                  <c:v>594.01</c:v>
                </c:pt>
                <c:pt idx="12">
                  <c:v>597.5</c:v>
                </c:pt>
                <c:pt idx="13">
                  <c:v>839.2</c:v>
                </c:pt>
                <c:pt idx="14">
                  <c:v>542.95</c:v>
                </c:pt>
                <c:pt idx="15">
                  <c:v>281.56</c:v>
                </c:pt>
                <c:pt idx="16">
                  <c:v>316.47</c:v>
                </c:pt>
                <c:pt idx="17">
                  <c:v>312.72</c:v>
                </c:pt>
                <c:pt idx="18">
                  <c:v>318.97</c:v>
                </c:pt>
                <c:pt idx="19">
                  <c:v>186.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showLegendKey val="0"/>
              <c:showVal val="1"/>
              <c:showCatName val="0"/>
              <c:showSerName val="0"/>
              <c:showPercent val="0"/>
              <c:showBubbleSize val="0"/>
            </c:dLbl>
            <c:dLbl>
              <c:idx val="1"/>
              <c:tx>
                <c:rich>
                  <a:bodyPr/>
                  <a:lstStyle/>
                  <a:p>
                    <a:r>
                      <a:t>338.04</a:t>
                    </a:r>
                  </a:p>
                </c:rich>
              </c:tx>
              <c:showLegendKey val="0"/>
              <c:showVal val="1"/>
              <c:showCatName val="0"/>
              <c:showSerName val="0"/>
              <c:showPercent val="0"/>
              <c:showBubbleSize val="0"/>
            </c:dLbl>
            <c:dLbl>
              <c:idx val="2"/>
              <c:tx>
                <c:rich>
                  <a:bodyPr/>
                  <a:lstStyle/>
                  <a:p>
                    <a:r>
                      <a:t>290.72</a:t>
                    </a:r>
                  </a:p>
                </c:rich>
              </c:tx>
              <c:showLegendKey val="0"/>
              <c:showVal val="1"/>
              <c:showCatName val="0"/>
              <c:showSerName val="0"/>
              <c:showPercent val="0"/>
              <c:showBubbleSize val="0"/>
            </c:dLbl>
            <c:dLbl>
              <c:idx val="3"/>
              <c:tx>
                <c:rich>
                  <a:bodyPr/>
                  <a:lstStyle/>
                  <a:p>
                    <a:r>
                      <a:t>316.05</a:t>
                    </a:r>
                  </a:p>
                </c:rich>
              </c:tx>
              <c:showLegendKey val="0"/>
              <c:showVal val="1"/>
              <c:showCatName val="0"/>
              <c:showSerName val="0"/>
              <c:showPercent val="0"/>
              <c:showBubbleSize val="0"/>
            </c:dLbl>
            <c:dLbl>
              <c:idx val="4"/>
              <c:tx>
                <c:rich>
                  <a:bodyPr/>
                  <a:lstStyle/>
                  <a:p>
                    <a:r>
                      <a:t>310.2</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6</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6</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2</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3.99</c:v>
                </c:pt>
                <c:pt idx="1">
                  <c:v>338.04</c:v>
                </c:pt>
                <c:pt idx="2">
                  <c:v>290.72</c:v>
                </c:pt>
                <c:pt idx="3">
                  <c:v>316.05</c:v>
                </c:pt>
                <c:pt idx="4">
                  <c:v>310.2</c:v>
                </c:pt>
                <c:pt idx="5">
                  <c:v>635.1</c:v>
                </c:pt>
                <c:pt idx="6">
                  <c:v>641.3</c:v>
                </c:pt>
                <c:pt idx="7">
                  <c:v>647.88</c:v>
                </c:pt>
                <c:pt idx="8">
                  <c:v>648.86</c:v>
                </c:pt>
                <c:pt idx="9">
                  <c:v>465.44</c:v>
                </c:pt>
                <c:pt idx="10">
                  <c:v>629.46</c:v>
                </c:pt>
                <c:pt idx="11">
                  <c:v>594.01</c:v>
                </c:pt>
                <c:pt idx="12">
                  <c:v>597.5</c:v>
                </c:pt>
                <c:pt idx="13">
                  <c:v>839.2</c:v>
                </c:pt>
                <c:pt idx="14">
                  <c:v>542.95</c:v>
                </c:pt>
                <c:pt idx="15">
                  <c:v>281.56</c:v>
                </c:pt>
                <c:pt idx="16">
                  <c:v>316.47</c:v>
                </c:pt>
                <c:pt idx="17">
                  <c:v>312.72</c:v>
                </c:pt>
                <c:pt idx="18">
                  <c:v>318.97</c:v>
                </c:pt>
                <c:pt idx="19">
                  <c:v>186.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showLegendKey val="0"/>
              <c:showVal val="1"/>
              <c:showCatName val="0"/>
              <c:showSerName val="0"/>
              <c:showPercent val="0"/>
              <c:showBubbleSize val="0"/>
            </c:dLbl>
            <c:dLbl>
              <c:idx val="1"/>
              <c:tx>
                <c:rich>
                  <a:bodyPr/>
                  <a:lstStyle/>
                  <a:p>
                    <a:r>
                      <a:t>282.37</a:t>
                    </a:r>
                  </a:p>
                </c:rich>
              </c:tx>
              <c:showLegendKey val="0"/>
              <c:showVal val="1"/>
              <c:showCatName val="0"/>
              <c:showSerName val="0"/>
              <c:showPercent val="0"/>
              <c:showBubbleSize val="0"/>
            </c:dLbl>
            <c:dLbl>
              <c:idx val="2"/>
              <c:tx>
                <c:rich>
                  <a:bodyPr/>
                  <a:lstStyle/>
                  <a:p>
                    <a:r>
                      <a:t>258.13</a:t>
                    </a:r>
                  </a:p>
                </c:rich>
              </c:tx>
              <c:showLegendKey val="0"/>
              <c:showVal val="1"/>
              <c:showCatName val="0"/>
              <c:showSerName val="0"/>
              <c:showPercent val="0"/>
              <c:showBubbleSize val="0"/>
            </c:dLbl>
            <c:dLbl>
              <c:idx val="3"/>
              <c:tx>
                <c:rich>
                  <a:bodyPr/>
                  <a:lstStyle/>
                  <a:p>
                    <a:r>
                      <a:t>242.37</a:t>
                    </a:r>
                  </a:p>
                </c:rich>
              </c:tx>
              <c:showLegendKey val="0"/>
              <c:showVal val="1"/>
              <c:showCatName val="0"/>
              <c:showSerName val="0"/>
              <c:showPercent val="0"/>
              <c:showBubbleSize val="0"/>
            </c:dLbl>
            <c:dLbl>
              <c:idx val="4"/>
              <c:tx>
                <c:rich>
                  <a:bodyPr/>
                  <a:lstStyle/>
                  <a:p>
                    <a:r>
                      <a:t>400.18</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88</a:t>
                    </a:r>
                  </a:p>
                </c:rich>
              </c:tx>
              <c:showLegendKey val="0"/>
              <c:showVal val="1"/>
              <c:showCatName val="0"/>
              <c:showSerName val="0"/>
              <c:showPercent val="0"/>
              <c:showBubbleSize val="0"/>
            </c:dLbl>
            <c:dLbl>
              <c:idx val="8"/>
              <c:tx>
                <c:rich>
                  <a:bodyPr/>
                  <a:lstStyle/>
                  <a:p>
                    <a:r>
                      <a:t>648.86</a:t>
                    </a:r>
                  </a:p>
                </c:rich>
              </c:tx>
              <c:showLegendKey val="0"/>
              <c:showVal val="1"/>
              <c:showCatName val="0"/>
              <c:showSerName val="0"/>
              <c:showPercent val="0"/>
              <c:showBubbleSize val="0"/>
            </c:dLbl>
            <c:dLbl>
              <c:idx val="9"/>
              <c:tx>
                <c:rich>
                  <a:bodyPr/>
                  <a:lstStyle/>
                  <a:p>
                    <a:r>
                      <a:t>465.44</a:t>
                    </a:r>
                  </a:p>
                </c:rich>
              </c:tx>
              <c:showLegendKey val="0"/>
              <c:showVal val="1"/>
              <c:showCatName val="0"/>
              <c:showSerName val="0"/>
              <c:showPercent val="0"/>
              <c:showBubbleSize val="0"/>
            </c:dLbl>
            <c:dLbl>
              <c:idx val="10"/>
              <c:tx>
                <c:rich>
                  <a:bodyPr/>
                  <a:lstStyle/>
                  <a:p>
                    <a:r>
                      <a:t>629.46</a:t>
                    </a:r>
                  </a:p>
                </c:rich>
              </c:tx>
              <c:showLegendKey val="0"/>
              <c:showVal val="1"/>
              <c:showCatName val="0"/>
              <c:showSerName val="0"/>
              <c:showPercent val="0"/>
              <c:showBubbleSize val="0"/>
            </c:dLbl>
            <c:dLbl>
              <c:idx val="11"/>
              <c:tx>
                <c:rich>
                  <a:bodyPr/>
                  <a:lstStyle/>
                  <a:p>
                    <a:r>
                      <a:t>594.01</a:t>
                    </a:r>
                  </a:p>
                </c:rich>
              </c:tx>
              <c:showLegendKey val="0"/>
              <c:showVal val="1"/>
              <c:showCatName val="0"/>
              <c:showSerName val="0"/>
              <c:showPercent val="0"/>
              <c:showBubbleSize val="0"/>
            </c:dLbl>
            <c:dLbl>
              <c:idx val="12"/>
              <c:tx>
                <c:rich>
                  <a:bodyPr/>
                  <a:lstStyle/>
                  <a:p>
                    <a:r>
                      <a:t>597.5</a:t>
                    </a:r>
                  </a:p>
                </c:rich>
              </c:tx>
              <c:showLegendKey val="0"/>
              <c:showVal val="1"/>
              <c:showCatName val="0"/>
              <c:showSerName val="0"/>
              <c:showPercent val="0"/>
              <c:showBubbleSize val="0"/>
            </c:dLbl>
            <c:dLbl>
              <c:idx val="13"/>
              <c:tx>
                <c:rich>
                  <a:bodyPr/>
                  <a:lstStyle/>
                  <a:p>
                    <a:r>
                      <a:t>839.2</a:t>
                    </a:r>
                  </a:p>
                </c:rich>
              </c:tx>
              <c:showLegendKey val="0"/>
              <c:showVal val="1"/>
              <c:showCatName val="0"/>
              <c:showSerName val="0"/>
              <c:showPercent val="0"/>
              <c:showBubbleSize val="0"/>
            </c:dLbl>
            <c:dLbl>
              <c:idx val="14"/>
              <c:tx>
                <c:rich>
                  <a:bodyPr/>
                  <a:lstStyle/>
                  <a:p>
                    <a:r>
                      <a:t>542.95</a:t>
                    </a:r>
                  </a:p>
                </c:rich>
              </c:tx>
              <c:showLegendKey val="0"/>
              <c:showVal val="1"/>
              <c:showCatName val="0"/>
              <c:showSerName val="0"/>
              <c:showPercent val="0"/>
              <c:showBubbleSize val="0"/>
            </c:dLbl>
            <c:dLbl>
              <c:idx val="15"/>
              <c:tx>
                <c:rich>
                  <a:bodyPr/>
                  <a:lstStyle/>
                  <a:p>
                    <a:r>
                      <a:t>281.56</a:t>
                    </a:r>
                  </a:p>
                </c:rich>
              </c:tx>
              <c:showLegendKey val="0"/>
              <c:showVal val="1"/>
              <c:showCatName val="0"/>
              <c:showSerName val="0"/>
              <c:showPercent val="0"/>
              <c:showBubbleSize val="0"/>
            </c:dLbl>
            <c:dLbl>
              <c:idx val="16"/>
              <c:tx>
                <c:rich>
                  <a:bodyPr/>
                  <a:lstStyle/>
                  <a:p>
                    <a:r>
                      <a:t>316.47</a:t>
                    </a:r>
                  </a:p>
                </c:rich>
              </c:tx>
              <c:showLegendKey val="0"/>
              <c:showVal val="1"/>
              <c:showCatName val="0"/>
              <c:showSerName val="0"/>
              <c:showPercent val="0"/>
              <c:showBubbleSize val="0"/>
            </c:dLbl>
            <c:dLbl>
              <c:idx val="17"/>
              <c:tx>
                <c:rich>
                  <a:bodyPr/>
                  <a:lstStyle/>
                  <a:p>
                    <a:r>
                      <a:t>312.72</a:t>
                    </a:r>
                  </a:p>
                </c:rich>
              </c:tx>
              <c:showLegendKey val="0"/>
              <c:showVal val="1"/>
              <c:showCatName val="0"/>
              <c:showSerName val="0"/>
              <c:showPercent val="0"/>
              <c:showBubbleSize val="0"/>
            </c:dLbl>
            <c:dLbl>
              <c:idx val="18"/>
              <c:tx>
                <c:rich>
                  <a:bodyPr/>
                  <a:lstStyle/>
                  <a:p>
                    <a:r>
                      <a:t>318.97</a:t>
                    </a:r>
                  </a:p>
                </c:rich>
              </c:tx>
              <c:showLegendKey val="0"/>
              <c:showVal val="1"/>
              <c:showCatName val="0"/>
              <c:showSerName val="0"/>
              <c:showPercent val="0"/>
              <c:showBubbleSize val="0"/>
            </c:dLbl>
            <c:dLbl>
              <c:idx val="19"/>
              <c:tx>
                <c:rich>
                  <a:bodyPr/>
                  <a:lstStyle/>
                  <a:p>
                    <a:r>
                      <a:t>186.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Crema 50+ 20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69.3</c:v>
                </c:pt>
                <c:pt idx="1">
                  <c:v>282.37</c:v>
                </c:pt>
                <c:pt idx="2">
                  <c:v>258.13</c:v>
                </c:pt>
                <c:pt idx="3">
                  <c:v>242.37</c:v>
                </c:pt>
                <c:pt idx="4">
                  <c:v>400.18</c:v>
                </c:pt>
                <c:pt idx="5">
                  <c:v>635.1</c:v>
                </c:pt>
                <c:pt idx="6">
                  <c:v>641.3</c:v>
                </c:pt>
                <c:pt idx="7">
                  <c:v>647.88</c:v>
                </c:pt>
                <c:pt idx="8">
                  <c:v>648.86</c:v>
                </c:pt>
                <c:pt idx="9">
                  <c:v>465.44</c:v>
                </c:pt>
                <c:pt idx="10">
                  <c:v>629.46</c:v>
                </c:pt>
                <c:pt idx="11">
                  <c:v>594.01</c:v>
                </c:pt>
                <c:pt idx="12">
                  <c:v>597.5</c:v>
                </c:pt>
                <c:pt idx="13">
                  <c:v>839.2</c:v>
                </c:pt>
                <c:pt idx="14">
                  <c:v>542.95</c:v>
                </c:pt>
                <c:pt idx="15">
                  <c:v>281.56</c:v>
                </c:pt>
                <c:pt idx="16">
                  <c:v>316.47</c:v>
                </c:pt>
                <c:pt idx="17">
                  <c:v>312.72</c:v>
                </c:pt>
                <c:pt idx="18">
                  <c:v>318.97</c:v>
                </c:pt>
                <c:pt idx="19">
                  <c:v>186.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2</a:t>
                    </a:r>
                  </a:p>
                </c:rich>
              </c:tx>
              <c:showLegendKey val="0"/>
              <c:showVal val="1"/>
              <c:showCatName val="0"/>
              <c:showSerName val="0"/>
              <c:showPercent val="0"/>
              <c:showBubbleSize val="0"/>
            </c:dLbl>
            <c:dLbl>
              <c:idx val="1"/>
              <c:tx>
                <c:rich>
                  <a:bodyPr/>
                  <a:lstStyle/>
                  <a:p>
                    <a:r>
                      <a:t>318.53</a:t>
                    </a:r>
                  </a:p>
                </c:rich>
              </c:tx>
              <c:showLegendKey val="0"/>
              <c:showVal val="1"/>
              <c:showCatName val="0"/>
              <c:showSerName val="0"/>
              <c:showPercent val="0"/>
              <c:showBubbleSize val="0"/>
            </c:dLbl>
            <c:dLbl>
              <c:idx val="2"/>
              <c:tx>
                <c:rich>
                  <a:bodyPr/>
                  <a:lstStyle/>
                  <a:p>
                    <a:r>
                      <a:t>347.12</a:t>
                    </a:r>
                  </a:p>
                </c:rich>
              </c:tx>
              <c:showLegendKey val="0"/>
              <c:showVal val="1"/>
              <c:showCatName val="0"/>
              <c:showSerName val="0"/>
              <c:showPercent val="0"/>
              <c:showBubbleSize val="0"/>
            </c:dLbl>
            <c:dLbl>
              <c:idx val="3"/>
              <c:tx>
                <c:rich>
                  <a:bodyPr/>
                  <a:lstStyle/>
                  <a:p>
                    <a:r>
                      <a:t>330.0</a:t>
                    </a:r>
                  </a:p>
                </c:rich>
              </c:tx>
              <c:showLegendKey val="0"/>
              <c:showVal val="1"/>
              <c:showCatName val="0"/>
              <c:showSerName val="0"/>
              <c:showPercent val="0"/>
              <c:showBubbleSize val="0"/>
            </c:dLbl>
            <c:dLbl>
              <c:idx val="4"/>
              <c:tx>
                <c:rich>
                  <a:bodyPr/>
                  <a:lstStyle/>
                  <a:p>
                    <a:r>
                      <a:t>325.31</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4</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08</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Hawaiian Tropic Island Sport Sunscreen Adults Sport Spray Liquido 50 220Ml</c:v>
                </c:pt>
                <c:pt idx="3">
                  <c:v>Edgewell Hawaiian Tropic Island Sport Sunscreen Adults Sport Liquido 50 240Ml</c:v>
                </c:pt>
                <c:pt idx="4">
                  <c:v>Edgewell Hawaiian Tropic Ozono Sunscreen Adults Cosmetics Spray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05.32</c:v>
                </c:pt>
                <c:pt idx="1">
                  <c:v>318.53</c:v>
                </c:pt>
                <c:pt idx="2">
                  <c:v>347.12</c:v>
                </c:pt>
                <c:pt idx="3">
                  <c:v>330.0</c:v>
                </c:pt>
                <c:pt idx="4">
                  <c:v>325.31</c:v>
                </c:pt>
                <c:pt idx="5">
                  <c:v>634.08</c:v>
                </c:pt>
                <c:pt idx="6">
                  <c:v>642.22</c:v>
                </c:pt>
                <c:pt idx="7">
                  <c:v>649.42</c:v>
                </c:pt>
                <c:pt idx="8">
                  <c:v>652.94</c:v>
                </c:pt>
                <c:pt idx="9">
                  <c:v>467.39</c:v>
                </c:pt>
                <c:pt idx="10">
                  <c:v>633.08</c:v>
                </c:pt>
                <c:pt idx="11">
                  <c:v>596.69</c:v>
                </c:pt>
                <c:pt idx="12">
                  <c:v>601.16</c:v>
                </c:pt>
                <c:pt idx="13">
                  <c:v>843.38</c:v>
                </c:pt>
                <c:pt idx="14">
                  <c:v>550.32</c:v>
                </c:pt>
                <c:pt idx="15">
                  <c:v>315.86</c:v>
                </c:pt>
                <c:pt idx="16">
                  <c:v>350.73</c:v>
                </c:pt>
                <c:pt idx="17">
                  <c:v>361.69</c:v>
                </c:pt>
                <c:pt idx="18">
                  <c:v>365.11</c:v>
                </c:pt>
                <c:pt idx="19">
                  <c:v>18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dLblPos val="t"/>
              <c:showLegendKey val="0"/>
              <c:showVal val="1"/>
              <c:showCatName val="0"/>
              <c:showSerName val="0"/>
              <c:showPercent val="0"/>
              <c:showBubbleSize val="0"/>
            </c:dLbl>
            <c:dLbl>
              <c:idx val="1"/>
              <c:tx>
                <c:rich>
                  <a:bodyPr/>
                  <a:lstStyle/>
                  <a:p>
                    <a:r>
                      <a:t>278.73</a:t>
                    </a:r>
                  </a:p>
                </c:rich>
              </c:tx>
              <c:dLblPos val="t"/>
              <c:showLegendKey val="0"/>
              <c:showVal val="1"/>
              <c:showCatName val="0"/>
              <c:showSerName val="0"/>
              <c:showPercent val="0"/>
              <c:showBubbleSize val="0"/>
            </c:dLbl>
            <c:dLbl>
              <c:idx val="2"/>
              <c:tx>
                <c:rich>
                  <a:bodyPr/>
                  <a:lstStyle/>
                  <a:p>
                    <a:r>
                      <a:t>251.42</a:t>
                    </a:r>
                  </a:p>
                </c:rich>
              </c:tx>
              <c:dLblPos val="t"/>
              <c:showLegendKey val="0"/>
              <c:showVal val="1"/>
              <c:showCatName val="0"/>
              <c:showSerName val="0"/>
              <c:showPercent val="0"/>
              <c:showBubbleSize val="0"/>
            </c:dLbl>
            <c:dLbl>
              <c:idx val="3"/>
              <c:tx>
                <c:rich>
                  <a:bodyPr/>
                  <a:lstStyle/>
                  <a:p>
                    <a:r>
                      <a:t>242.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5.47</c:v>
                </c:pt>
                <c:pt idx="1">
                  <c:v>278.73</c:v>
                </c:pt>
                <c:pt idx="2">
                  <c:v>251.42</c:v>
                </c:pt>
                <c:pt idx="3">
                  <c:v>24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8.86</a:t>
                    </a:r>
                  </a:p>
                </c:rich>
              </c:tx>
              <c:showLegendKey val="0"/>
              <c:showVal val="1"/>
              <c:showCatName val="0"/>
              <c:showSerName val="0"/>
              <c:showPercent val="0"/>
              <c:showBubbleSize val="0"/>
            </c:dLbl>
            <c:dLbl>
              <c:idx val="1"/>
              <c:tx>
                <c:rich>
                  <a:bodyPr/>
                  <a:lstStyle/>
                  <a:p>
                    <a:r>
                      <a:t>339.09</a:t>
                    </a:r>
                  </a:p>
                </c:rich>
              </c:tx>
              <c:showLegendKey val="0"/>
              <c:showVal val="1"/>
              <c:showCatName val="0"/>
              <c:showSerName val="0"/>
              <c:showPercent val="0"/>
              <c:showBubbleSize val="0"/>
            </c:dLbl>
            <c:dLbl>
              <c:idx val="2"/>
              <c:tx>
                <c:rich>
                  <a:bodyPr/>
                  <a:lstStyle/>
                  <a:p>
                    <a:r>
                      <a:t>330.54</a:t>
                    </a:r>
                  </a:p>
                </c:rich>
              </c:tx>
              <c:showLegendKey val="0"/>
              <c:showVal val="1"/>
              <c:showCatName val="0"/>
              <c:showSerName val="0"/>
              <c:showPercent val="0"/>
              <c:showBubbleSize val="0"/>
            </c:dLbl>
            <c:dLbl>
              <c:idx val="3"/>
              <c:tx>
                <c:rich>
                  <a:bodyPr/>
                  <a:lstStyle/>
                  <a:p>
                    <a:r>
                      <a:t>329.19</a:t>
                    </a:r>
                  </a:p>
                </c:rich>
              </c:tx>
              <c:showLegendKey val="0"/>
              <c:showVal val="1"/>
              <c:showCatName val="0"/>
              <c:showSerName val="0"/>
              <c:showPercent val="0"/>
              <c:showBubbleSize val="0"/>
            </c:dLbl>
            <c:dLbl>
              <c:idx val="4"/>
              <c:tx>
                <c:rich>
                  <a:bodyPr/>
                  <a:lstStyle/>
                  <a:p>
                    <a:r>
                      <a:t>91.75</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4</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08</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Aqua Protect Sunscreen Adults Cosmetics Spray Liquido 50+ 170Ml</c:v>
                </c:pt>
                <c:pt idx="2">
                  <c:v>Edgewell Banana Boat Advanced Protection Sunscreen Adults Cosmetics Liquido 50+ 240Ml</c:v>
                </c:pt>
                <c:pt idx="3">
                  <c:v>Edgewell Banana Boat Dry Balance Sunscreen Adults Sport Spray Liquido 50 220Ml</c:v>
                </c:pt>
                <c:pt idx="4">
                  <c:v>Edgewell Banana Boat Advanced Protection Sunscreen Adults Cosmetics Liquido 50+ 6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48.86</c:v>
                </c:pt>
                <c:pt idx="1">
                  <c:v>339.09</c:v>
                </c:pt>
                <c:pt idx="2">
                  <c:v>330.54</c:v>
                </c:pt>
                <c:pt idx="3">
                  <c:v>329.19</c:v>
                </c:pt>
                <c:pt idx="4">
                  <c:v>91.75</c:v>
                </c:pt>
                <c:pt idx="5">
                  <c:v>634.08</c:v>
                </c:pt>
                <c:pt idx="6">
                  <c:v>642.22</c:v>
                </c:pt>
                <c:pt idx="7">
                  <c:v>649.42</c:v>
                </c:pt>
                <c:pt idx="8">
                  <c:v>652.94</c:v>
                </c:pt>
                <c:pt idx="9">
                  <c:v>467.39</c:v>
                </c:pt>
                <c:pt idx="10">
                  <c:v>633.08</c:v>
                </c:pt>
                <c:pt idx="11">
                  <c:v>596.69</c:v>
                </c:pt>
                <c:pt idx="12">
                  <c:v>601.16</c:v>
                </c:pt>
                <c:pt idx="13">
                  <c:v>843.38</c:v>
                </c:pt>
                <c:pt idx="14">
                  <c:v>550.32</c:v>
                </c:pt>
                <c:pt idx="15">
                  <c:v>315.86</c:v>
                </c:pt>
                <c:pt idx="16">
                  <c:v>350.73</c:v>
                </c:pt>
                <c:pt idx="17">
                  <c:v>361.69</c:v>
                </c:pt>
                <c:pt idx="18">
                  <c:v>365.11</c:v>
                </c:pt>
                <c:pt idx="19">
                  <c:v>18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48</a:t>
                    </a:r>
                  </a:p>
                </c:rich>
              </c:tx>
              <c:showLegendKey val="0"/>
              <c:showVal val="1"/>
              <c:showCatName val="0"/>
              <c:showSerName val="0"/>
              <c:showPercent val="0"/>
              <c:showBubbleSize val="0"/>
            </c:dLbl>
            <c:dLbl>
              <c:idx val="1"/>
              <c:tx>
                <c:rich>
                  <a:bodyPr/>
                  <a:lstStyle/>
                  <a:p>
                    <a:r>
                      <a:t>363.49</a:t>
                    </a:r>
                  </a:p>
                </c:rich>
              </c:tx>
              <c:showLegendKey val="0"/>
              <c:showVal val="1"/>
              <c:showCatName val="0"/>
              <c:showSerName val="0"/>
              <c:showPercent val="0"/>
              <c:showBubbleSize val="0"/>
            </c:dLbl>
            <c:dLbl>
              <c:idx val="2"/>
              <c:tx>
                <c:rich>
                  <a:bodyPr/>
                  <a:lstStyle/>
                  <a:p>
                    <a:r>
                      <a:t>362.74</a:t>
                    </a:r>
                  </a:p>
                </c:rich>
              </c:tx>
              <c:showLegendKey val="0"/>
              <c:showVal val="1"/>
              <c:showCatName val="0"/>
              <c:showSerName val="0"/>
              <c:showPercent val="0"/>
              <c:showBubbleSize val="0"/>
            </c:dLbl>
            <c:dLbl>
              <c:idx val="3"/>
              <c:tx>
                <c:rich>
                  <a:bodyPr/>
                  <a:lstStyle/>
                  <a:p>
                    <a:r>
                      <a:t>400.18</a:t>
                    </a:r>
                  </a:p>
                </c:rich>
              </c:tx>
              <c:showLegendKey val="0"/>
              <c:showVal val="1"/>
              <c:showCatName val="0"/>
              <c:showSerName val="0"/>
              <c:showPercent val="0"/>
              <c:showBubbleSize val="0"/>
            </c:dLbl>
            <c:dLbl>
              <c:idx val="4"/>
              <c:tx>
                <c:rich>
                  <a:bodyPr/>
                  <a:lstStyle/>
                  <a:p>
                    <a:r>
                      <a:t>427.0</a:t>
                    </a:r>
                  </a:p>
                </c:rich>
              </c:tx>
              <c:showLegendKey val="0"/>
              <c:showVal val="1"/>
              <c:showCatName val="0"/>
              <c:showSerName val="0"/>
              <c:showPercent val="0"/>
              <c:showBubbleSize val="0"/>
            </c:dLbl>
            <c:dLbl>
              <c:idx val="5"/>
              <c:tx>
                <c:rich>
                  <a:bodyPr/>
                  <a:lstStyle/>
                  <a:p>
                    <a:r>
                      <a:t>634.08</a:t>
                    </a:r>
                  </a:p>
                </c:rich>
              </c:tx>
              <c:showLegendKey val="0"/>
              <c:showVal val="1"/>
              <c:showCatName val="0"/>
              <c:showSerName val="0"/>
              <c:showPercent val="0"/>
              <c:showBubbleSize val="0"/>
            </c:dLbl>
            <c:dLbl>
              <c:idx val="6"/>
              <c:tx>
                <c:rich>
                  <a:bodyPr/>
                  <a:lstStyle/>
                  <a:p>
                    <a:r>
                      <a:t>642.22</a:t>
                    </a:r>
                  </a:p>
                </c:rich>
              </c:tx>
              <c:showLegendKey val="0"/>
              <c:showVal val="1"/>
              <c:showCatName val="0"/>
              <c:showSerName val="0"/>
              <c:showPercent val="0"/>
              <c:showBubbleSize val="0"/>
            </c:dLbl>
            <c:dLbl>
              <c:idx val="7"/>
              <c:tx>
                <c:rich>
                  <a:bodyPr/>
                  <a:lstStyle/>
                  <a:p>
                    <a:r>
                      <a:t>649.42</a:t>
                    </a:r>
                  </a:p>
                </c:rich>
              </c:tx>
              <c:showLegendKey val="0"/>
              <c:showVal val="1"/>
              <c:showCatName val="0"/>
              <c:showSerName val="0"/>
              <c:showPercent val="0"/>
              <c:showBubbleSize val="0"/>
            </c:dLbl>
            <c:dLbl>
              <c:idx val="8"/>
              <c:tx>
                <c:rich>
                  <a:bodyPr/>
                  <a:lstStyle/>
                  <a:p>
                    <a:r>
                      <a:t>652.94</a:t>
                    </a:r>
                  </a:p>
                </c:rich>
              </c:tx>
              <c:showLegendKey val="0"/>
              <c:showVal val="1"/>
              <c:showCatName val="0"/>
              <c:showSerName val="0"/>
              <c:showPercent val="0"/>
              <c:showBubbleSize val="0"/>
            </c:dLbl>
            <c:dLbl>
              <c:idx val="9"/>
              <c:tx>
                <c:rich>
                  <a:bodyPr/>
                  <a:lstStyle/>
                  <a:p>
                    <a:r>
                      <a:t>467.39</a:t>
                    </a:r>
                  </a:p>
                </c:rich>
              </c:tx>
              <c:showLegendKey val="0"/>
              <c:showVal val="1"/>
              <c:showCatName val="0"/>
              <c:showSerName val="0"/>
              <c:showPercent val="0"/>
              <c:showBubbleSize val="0"/>
            </c:dLbl>
            <c:dLbl>
              <c:idx val="10"/>
              <c:tx>
                <c:rich>
                  <a:bodyPr/>
                  <a:lstStyle/>
                  <a:p>
                    <a:r>
                      <a:t>633.08</a:t>
                    </a:r>
                  </a:p>
                </c:rich>
              </c:tx>
              <c:showLegendKey val="0"/>
              <c:showVal val="1"/>
              <c:showCatName val="0"/>
              <c:showSerName val="0"/>
              <c:showPercent val="0"/>
              <c:showBubbleSize val="0"/>
            </c:dLbl>
            <c:dLbl>
              <c:idx val="11"/>
              <c:tx>
                <c:rich>
                  <a:bodyPr/>
                  <a:lstStyle/>
                  <a:p>
                    <a:r>
                      <a:t>596.69</a:t>
                    </a:r>
                  </a:p>
                </c:rich>
              </c:tx>
              <c:showLegendKey val="0"/>
              <c:showVal val="1"/>
              <c:showCatName val="0"/>
              <c:showSerName val="0"/>
              <c:showPercent val="0"/>
              <c:showBubbleSize val="0"/>
            </c:dLbl>
            <c:dLbl>
              <c:idx val="12"/>
              <c:tx>
                <c:rich>
                  <a:bodyPr/>
                  <a:lstStyle/>
                  <a:p>
                    <a:r>
                      <a:t>601.16</a:t>
                    </a:r>
                  </a:p>
                </c:rich>
              </c:tx>
              <c:showLegendKey val="0"/>
              <c:showVal val="1"/>
              <c:showCatName val="0"/>
              <c:showSerName val="0"/>
              <c:showPercent val="0"/>
              <c:showBubbleSize val="0"/>
            </c:dLbl>
            <c:dLbl>
              <c:idx val="13"/>
              <c:tx>
                <c:rich>
                  <a:bodyPr/>
                  <a:lstStyle/>
                  <a:p>
                    <a:r>
                      <a:t>843.38</a:t>
                    </a:r>
                  </a:p>
                </c:rich>
              </c:tx>
              <c:showLegendKey val="0"/>
              <c:showVal val="1"/>
              <c:showCatName val="0"/>
              <c:showSerName val="0"/>
              <c:showPercent val="0"/>
              <c:showBubbleSize val="0"/>
            </c:dLbl>
            <c:dLbl>
              <c:idx val="14"/>
              <c:tx>
                <c:rich>
                  <a:bodyPr/>
                  <a:lstStyle/>
                  <a:p>
                    <a:r>
                      <a:t>550.32</a:t>
                    </a:r>
                  </a:p>
                </c:rich>
              </c:tx>
              <c:showLegendKey val="0"/>
              <c:showVal val="1"/>
              <c:showCatName val="0"/>
              <c:showSerName val="0"/>
              <c:showPercent val="0"/>
              <c:showBubbleSize val="0"/>
            </c:dLbl>
            <c:dLbl>
              <c:idx val="15"/>
              <c:tx>
                <c:rich>
                  <a:bodyPr/>
                  <a:lstStyle/>
                  <a:p>
                    <a:r>
                      <a:t>315.86</a:t>
                    </a:r>
                  </a:p>
                </c:rich>
              </c:tx>
              <c:showLegendKey val="0"/>
              <c:showVal val="1"/>
              <c:showCatName val="0"/>
              <c:showSerName val="0"/>
              <c:showPercent val="0"/>
              <c:showBubbleSize val="0"/>
            </c:dLbl>
            <c:dLbl>
              <c:idx val="16"/>
              <c:tx>
                <c:rich>
                  <a:bodyPr/>
                  <a:lstStyle/>
                  <a:p>
                    <a:r>
                      <a:t>350.73</a:t>
                    </a:r>
                  </a:p>
                </c:rich>
              </c:tx>
              <c:showLegendKey val="0"/>
              <c:showVal val="1"/>
              <c:showCatName val="0"/>
              <c:showSerName val="0"/>
              <c:showPercent val="0"/>
              <c:showBubbleSize val="0"/>
            </c:dLbl>
            <c:dLbl>
              <c:idx val="17"/>
              <c:tx>
                <c:rich>
                  <a:bodyPr/>
                  <a:lstStyle/>
                  <a:p>
                    <a:r>
                      <a:t>361.69</a:t>
                    </a:r>
                  </a:p>
                </c:rich>
              </c:tx>
              <c:showLegendKey val="0"/>
              <c:showVal val="1"/>
              <c:showCatName val="0"/>
              <c:showSerName val="0"/>
              <c:showPercent val="0"/>
              <c:showBubbleSize val="0"/>
            </c:dLbl>
            <c:dLbl>
              <c:idx val="18"/>
              <c:tx>
                <c:rich>
                  <a:bodyPr/>
                  <a:lstStyle/>
                  <a:p>
                    <a:r>
                      <a:t>365.11</a:t>
                    </a:r>
                  </a:p>
                </c:rich>
              </c:tx>
              <c:showLegendKey val="0"/>
              <c:showVal val="1"/>
              <c:showCatName val="0"/>
              <c:showSerName val="0"/>
              <c:showPercent val="0"/>
              <c:showBubbleSize val="0"/>
            </c:dLbl>
            <c:dLbl>
              <c:idx val="19"/>
              <c:tx>
                <c:rich>
                  <a:bodyPr/>
                  <a:lstStyle/>
                  <a:p>
                    <a:r>
                      <a:t>188.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Sensitive Sunscreen Adults Cosmetics Liquido 50+ 180Ml</c:v>
                </c:pt>
                <c:pt idx="4">
                  <c:v>Edgewell Beauty Care Antioxidant Sunscreen Adults Cosmetics Liquido 50+ 18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L'Oreal La Roche-Posay Sunscreen Adults Derma Fluido 50+ 50Ml</c:v>
                </c:pt>
                <c:pt idx="11">
                  <c:v>L'Oreal La Roche-Posay Sunscreen Adults Derma Gel 50+ 50Ml</c:v>
                </c:pt>
                <c:pt idx="12">
                  <c:v>L'Oreal La Roche-Posay Sunscreen Adults Derma Crema 50 50Ml</c:v>
                </c:pt>
                <c:pt idx="13">
                  <c:v>L'Oreal La Roche-Posay Sunscreen Adults Derma Crema 50+ 50Ml</c:v>
                </c:pt>
                <c:pt idx="14">
                  <c:v>L'Oreal La Roche-Posay Sunscreen Adults Derma Spray Aceite 50 75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Crema 50+ 200Ml</c:v>
                </c:pt>
                <c:pt idx="19">
                  <c:v>Beiersdorf Nivea Sunscreen Adults Cosmetics Liquido 50+ 125Ml</c:v>
                </c:pt>
              </c:strCache>
            </c:strRef>
          </c:cat>
          <c:val>
            <c:numRef>
              <c:f>Sheet1!$B$2:$B$21</c:f>
              <c:numCache>
                <c:formatCode>General</c:formatCode>
                <c:ptCount val="20"/>
                <c:pt idx="0">
                  <c:v>345.48</c:v>
                </c:pt>
                <c:pt idx="1">
                  <c:v>363.49</c:v>
                </c:pt>
                <c:pt idx="2">
                  <c:v>362.74</c:v>
                </c:pt>
                <c:pt idx="3">
                  <c:v>400.18</c:v>
                </c:pt>
                <c:pt idx="4">
                  <c:v>427.0</c:v>
                </c:pt>
                <c:pt idx="5">
                  <c:v>634.08</c:v>
                </c:pt>
                <c:pt idx="6">
                  <c:v>642.22</c:v>
                </c:pt>
                <c:pt idx="7">
                  <c:v>649.42</c:v>
                </c:pt>
                <c:pt idx="8">
                  <c:v>652.94</c:v>
                </c:pt>
                <c:pt idx="9">
                  <c:v>467.39</c:v>
                </c:pt>
                <c:pt idx="10">
                  <c:v>633.08</c:v>
                </c:pt>
                <c:pt idx="11">
                  <c:v>596.69</c:v>
                </c:pt>
                <c:pt idx="12">
                  <c:v>601.16</c:v>
                </c:pt>
                <c:pt idx="13">
                  <c:v>843.38</c:v>
                </c:pt>
                <c:pt idx="14">
                  <c:v>550.32</c:v>
                </c:pt>
                <c:pt idx="15">
                  <c:v>315.86</c:v>
                </c:pt>
                <c:pt idx="16">
                  <c:v>350.73</c:v>
                </c:pt>
                <c:pt idx="17">
                  <c:v>361.69</c:v>
                </c:pt>
                <c:pt idx="18">
                  <c:v>365.11</c:v>
                </c:pt>
                <c:pt idx="19">
                  <c:v>188.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70.09</a:t>
                    </a:r>
                  </a:p>
                </c:rich>
              </c:tx>
              <c:showLegendKey val="0"/>
              <c:showVal val="1"/>
              <c:showCatName val="0"/>
              <c:showSerName val="0"/>
              <c:showPercent val="0"/>
              <c:showBubbleSize val="0"/>
            </c:dLbl>
            <c:dLbl>
              <c:idx val="2"/>
              <c:tx>
                <c:rich>
                  <a:bodyPr/>
                  <a:lstStyle/>
                  <a:p>
                    <a:r>
                      <a:t>220.0</a:t>
                    </a:r>
                  </a:p>
                </c:rich>
              </c:tx>
              <c:showLegendKey val="0"/>
              <c:showVal val="1"/>
              <c:showCatName val="0"/>
              <c:showSerName val="0"/>
              <c:showPercent val="0"/>
              <c:showBubbleSize val="0"/>
            </c:dLbl>
            <c:dLbl>
              <c:idx val="3"/>
              <c:tx>
                <c:rich>
                  <a:bodyPr/>
                  <a:lstStyle/>
                  <a:p>
                    <a:r>
                      <a:t>258.0</a:t>
                    </a:r>
                  </a:p>
                </c:rich>
              </c:tx>
              <c:showLegendKey val="0"/>
              <c:showVal val="1"/>
              <c:showCatName val="0"/>
              <c:showSerName val="0"/>
              <c:showPercent val="0"/>
              <c:showBubbleSize val="0"/>
            </c:dLbl>
            <c:dLbl>
              <c:idx val="4"/>
              <c:tx>
                <c:rich>
                  <a:bodyPr/>
                  <a:lstStyle/>
                  <a:p>
                    <a:r>
                      <a:t>133.0</a:t>
                    </a:r>
                  </a:p>
                </c:rich>
              </c:tx>
              <c:showLegendKey val="0"/>
              <c:showVal val="1"/>
              <c:showCatName val="0"/>
              <c:showSerName val="0"/>
              <c:showPercent val="0"/>
              <c:showBubbleSize val="0"/>
            </c:dLbl>
            <c:dLbl>
              <c:idx val="5"/>
              <c:tx>
                <c:rich>
                  <a:bodyPr/>
                  <a:lstStyle/>
                  <a:p>
                    <a:r>
                      <a:t>453.61</a:t>
                    </a:r>
                  </a:p>
                </c:rich>
              </c:tx>
              <c:showLegendKey val="0"/>
              <c:showVal val="1"/>
              <c:showCatName val="0"/>
              <c:showSerName val="0"/>
              <c:showPercent val="0"/>
              <c:showBubbleSize val="0"/>
            </c:dLbl>
            <c:dLbl>
              <c:idx val="6"/>
              <c:tx>
                <c:rich>
                  <a:bodyPr/>
                  <a:lstStyle/>
                  <a:p>
                    <a:r>
                      <a:t>450.0</a:t>
                    </a:r>
                  </a:p>
                </c:rich>
              </c:tx>
              <c:showLegendKey val="0"/>
              <c:showVal val="1"/>
              <c:showCatName val="0"/>
              <c:showSerName val="0"/>
              <c:showPercent val="0"/>
              <c:showBubbleSize val="0"/>
            </c:dLbl>
            <c:dLbl>
              <c:idx val="7"/>
              <c:tx>
                <c:rich>
                  <a:bodyPr/>
                  <a:lstStyle/>
                  <a:p>
                    <a:r>
                      <a:t>188.69</a:t>
                    </a:r>
                  </a:p>
                </c:rich>
              </c:tx>
              <c:showLegendKey val="0"/>
              <c:showVal val="1"/>
              <c:showCatName val="0"/>
              <c:showSerName val="0"/>
              <c:showPercent val="0"/>
              <c:showBubbleSize val="0"/>
            </c:dLbl>
            <c:dLbl>
              <c:idx val="8"/>
              <c:tx>
                <c:rich>
                  <a:bodyPr/>
                  <a:lstStyle/>
                  <a:p>
                    <a:r>
                      <a:t>294.01</a:t>
                    </a:r>
                  </a:p>
                </c:rich>
              </c:tx>
              <c:showLegendKey val="0"/>
              <c:showVal val="1"/>
              <c:showCatName val="0"/>
              <c:showSerName val="0"/>
              <c:showPercent val="0"/>
              <c:showBubbleSize val="0"/>
            </c:dLbl>
            <c:dLbl>
              <c:idx val="9"/>
              <c:tx>
                <c:rich>
                  <a:bodyPr/>
                  <a:lstStyle/>
                  <a:p>
                    <a:r>
                      <a:t>232.54</a:t>
                    </a:r>
                  </a:p>
                </c:rich>
              </c:tx>
              <c:showLegendKey val="0"/>
              <c:showVal val="1"/>
              <c:showCatName val="0"/>
              <c:showSerName val="0"/>
              <c:showPercent val="0"/>
              <c:showBubbleSize val="0"/>
            </c:dLbl>
            <c:dLbl>
              <c:idx val="10"/>
              <c:tx>
                <c:rich>
                  <a:bodyPr/>
                  <a:lstStyle/>
                  <a:p>
                    <a:r>
                      <a:t>295.0</a:t>
                    </a:r>
                  </a:p>
                </c:rich>
              </c:tx>
              <c:showLegendKey val="0"/>
              <c:showVal val="1"/>
              <c:showCatName val="0"/>
              <c:showSerName val="0"/>
              <c:showPercent val="0"/>
              <c:showBubbleSize val="0"/>
            </c:dLbl>
            <c:dLbl>
              <c:idx val="11"/>
              <c:tx>
                <c:rich>
                  <a:bodyPr/>
                  <a:lstStyle/>
                  <a:p>
                    <a:r>
                      <a:t>362.53</a:t>
                    </a:r>
                  </a:p>
                </c:rich>
              </c:tx>
              <c:showLegendKey val="0"/>
              <c:showVal val="1"/>
              <c:showCatName val="0"/>
              <c:showSerName val="0"/>
              <c:showPercent val="0"/>
              <c:showBubbleSize val="0"/>
            </c:dLbl>
            <c:dLbl>
              <c:idx val="12"/>
              <c:tx>
                <c:rich>
                  <a:bodyPr/>
                  <a:lstStyle/>
                  <a:p>
                    <a:r>
                      <a:t>155.62</a:t>
                    </a:r>
                  </a:p>
                </c:rich>
              </c:tx>
              <c:showLegendKey val="0"/>
              <c:showVal val="1"/>
              <c:showCatName val="0"/>
              <c:showSerName val="0"/>
              <c:showPercent val="0"/>
              <c:showBubbleSize val="0"/>
            </c:dLbl>
            <c:dLbl>
              <c:idx val="13"/>
              <c:tx>
                <c:rich>
                  <a:bodyPr/>
                  <a:lstStyle/>
                  <a:p>
                    <a:r>
                      <a:t>118.11</a:t>
                    </a:r>
                  </a:p>
                </c:rich>
              </c:tx>
              <c:showLegendKey val="0"/>
              <c:showVal val="1"/>
              <c:showCatName val="0"/>
              <c:showSerName val="0"/>
              <c:showPercent val="0"/>
              <c:showBubbleSize val="0"/>
            </c:dLbl>
            <c:dLbl>
              <c:idx val="14"/>
              <c:tx>
                <c:rich>
                  <a:bodyPr/>
                  <a:lstStyle/>
                  <a:p>
                    <a:r>
                      <a:t>178.16</a:t>
                    </a:r>
                  </a:p>
                </c:rich>
              </c:tx>
              <c:showLegendKey val="0"/>
              <c:showVal val="1"/>
              <c:showCatName val="0"/>
              <c:showSerName val="0"/>
              <c:showPercent val="0"/>
              <c:showBubbleSize val="0"/>
            </c:dLbl>
            <c:dLbl>
              <c:idx val="15"/>
              <c:tx>
                <c:rich>
                  <a:bodyPr/>
                  <a:lstStyle/>
                  <a:p>
                    <a:r>
                      <a:t>156.83</a:t>
                    </a:r>
                  </a:p>
                </c:rich>
              </c:tx>
              <c:showLegendKey val="0"/>
              <c:showVal val="1"/>
              <c:showCatName val="0"/>
              <c:showSerName val="0"/>
              <c:showPercent val="0"/>
              <c:showBubbleSize val="0"/>
            </c:dLbl>
            <c:dLbl>
              <c:idx val="16"/>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ther Sunscreen Adults Cosmetics Crema 50+ 240Ml</c:v>
                </c:pt>
                <c:pt idx="1">
                  <c:v>Edgewell Hawaiian Tropic Island Sport Sunscreen Adults Sport Liquido 50 60Ml</c:v>
                </c:pt>
                <c:pt idx="2">
                  <c:v>Edgewell Hawaiian Tropic Island Sport Sunscreen Adults Sport Spray Liquido 50 220Ml</c:v>
                </c:pt>
                <c:pt idx="3">
                  <c:v>Edgewell Hawaiian Tropic Baby Sunscreen Baby Cosmetics Crema 50+ 240Ml</c:v>
                </c:pt>
                <c:pt idx="4">
                  <c:v>Edgewell Hawaiian Tropic Sheer Touch Sunscreen Adults Cosmetics Liquido 30 - 49 60Ml</c:v>
                </c:pt>
                <c:pt idx="5">
                  <c:v>Isdin Isdin Sunscreen Adults Derma Crema 50 50Ml</c:v>
                </c:pt>
                <c:pt idx="6">
                  <c:v>Isdin Isdin Sunscreen Adults Derma Crema 50+ 50Ml</c:v>
                </c:pt>
                <c:pt idx="7">
                  <c:v>Beiersdorf Nivea Sunscreen Adults Cosmetics Liquido 50+ 125Ml</c:v>
                </c:pt>
                <c:pt idx="8">
                  <c:v>Beiersdorf Nivea Sunscreen Adults Cosmetics Crema 50+ 200Ml</c:v>
                </c:pt>
                <c:pt idx="9">
                  <c:v>Beiersdorf Nivea Sunscreen Adults Cosmetics Crema 50 50Ml</c:v>
                </c:pt>
                <c:pt idx="10">
                  <c:v>Beiersdorf Nivea Sunscreen Kids Cosmetics Liquido 50+ 200Ml</c:v>
                </c:pt>
                <c:pt idx="11">
                  <c:v>Beiersdorf Nivea Sunscreen Adults Cosmetics Spray Liquido 50 200Ml</c:v>
                </c:pt>
                <c:pt idx="12">
                  <c:v>Others Fabricante Unif. Others Marca Unif. Sunscreen Adults Cosmetics Crema 50+ 125Ml</c:v>
                </c:pt>
                <c:pt idx="13">
                  <c:v>Others Fabricante Unif. Others Marca Unif. Sunscreen Adults Cosmetics Crema 50 100Ml</c:v>
                </c:pt>
                <c:pt idx="14">
                  <c:v>Others Fabricante Unif. Others Marca Unif. Sunscreen Adults Derma Crema 50+ 125Ml</c:v>
                </c:pt>
                <c:pt idx="15">
                  <c:v>Others Fabricante Unif. Others Marca Unif. Sunscreen Kids Derma Crema 50+ 125Ml</c:v>
                </c:pt>
                <c:pt idx="16">
                  <c:v>Others Fabricante Unif. Others Marca Unif. Sunscreen Adults Cosmetics Spray 50+ 170Ml</c:v>
                </c:pt>
              </c:strCache>
            </c:strRef>
          </c:cat>
          <c:val>
            <c:numRef>
              <c:f>Sheet1!$B$2:$B$18</c:f>
              <c:numCache>
                <c:formatCode>General</c:formatCode>
                <c:ptCount val="17"/>
                <c:pt idx="0">
                  <c:v>240.0</c:v>
                </c:pt>
                <c:pt idx="1">
                  <c:v>70.09</c:v>
                </c:pt>
                <c:pt idx="2">
                  <c:v>220.0</c:v>
                </c:pt>
                <c:pt idx="3">
                  <c:v>258.0</c:v>
                </c:pt>
                <c:pt idx="4">
                  <c:v>133.0</c:v>
                </c:pt>
                <c:pt idx="5">
                  <c:v>453.61</c:v>
                </c:pt>
                <c:pt idx="6">
                  <c:v>450.0</c:v>
                </c:pt>
                <c:pt idx="7">
                  <c:v>188.69</c:v>
                </c:pt>
                <c:pt idx="8">
                  <c:v>294.01</c:v>
                </c:pt>
                <c:pt idx="9">
                  <c:v>232.54</c:v>
                </c:pt>
                <c:pt idx="10">
                  <c:v>295.0</c:v>
                </c:pt>
                <c:pt idx="11">
                  <c:v>362.53</c:v>
                </c:pt>
                <c:pt idx="12">
                  <c:v>155.62</c:v>
                </c:pt>
                <c:pt idx="13">
                  <c:v>118.11</c:v>
                </c:pt>
                <c:pt idx="14">
                  <c:v>178.16</c:v>
                </c:pt>
                <c:pt idx="15">
                  <c:v>156.83</c:v>
                </c:pt>
                <c:pt idx="16">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showLegendKey val="0"/>
              <c:showVal val="1"/>
              <c:showCatName val="0"/>
              <c:showSerName val="0"/>
              <c:showPercent val="0"/>
              <c:showBubbleSize val="0"/>
            </c:dLbl>
            <c:dLbl>
              <c:idx val="1"/>
              <c:tx>
                <c:rich>
                  <a:bodyPr/>
                  <a:lstStyle/>
                  <a:p>
                    <a:r>
                      <a:t>234.59</a:t>
                    </a:r>
                  </a:p>
                </c:rich>
              </c:tx>
              <c:showLegendKey val="0"/>
              <c:showVal val="1"/>
              <c:showCatName val="0"/>
              <c:showSerName val="0"/>
              <c:showPercent val="0"/>
              <c:showBubbleSize val="0"/>
            </c:dLbl>
            <c:dLbl>
              <c:idx val="2"/>
              <c:tx>
                <c:rich>
                  <a:bodyPr/>
                  <a:lstStyle/>
                  <a:p>
                    <a:r>
                      <a:t>205.93</a:t>
                    </a:r>
                  </a:p>
                </c:rich>
              </c:tx>
              <c:showLegendKey val="0"/>
              <c:showVal val="1"/>
              <c:showCatName val="0"/>
              <c:showSerName val="0"/>
              <c:showPercent val="0"/>
              <c:showBubbleSize val="0"/>
            </c:dLbl>
            <c:dLbl>
              <c:idx val="3"/>
              <c:tx>
                <c:rich>
                  <a:bodyPr/>
                  <a:lstStyle/>
                  <a:p>
                    <a:r>
                      <a:t>125.0</a:t>
                    </a:r>
                  </a:p>
                </c:rich>
              </c:tx>
              <c:showLegendKey val="0"/>
              <c:showVal val="1"/>
              <c:showCatName val="0"/>
              <c:showSerName val="0"/>
              <c:showPercent val="0"/>
              <c:showBubbleSize val="0"/>
            </c:dLbl>
            <c:dLbl>
              <c:idx val="4"/>
              <c:tx>
                <c:rich>
                  <a:bodyPr/>
                  <a:lstStyle/>
                  <a:p>
                    <a:r>
                      <a:t>453.61</a:t>
                    </a:r>
                  </a:p>
                </c:rich>
              </c:tx>
              <c:showLegendKey val="0"/>
              <c:showVal val="1"/>
              <c:showCatName val="0"/>
              <c:showSerName val="0"/>
              <c:showPercent val="0"/>
              <c:showBubbleSize val="0"/>
            </c:dLbl>
            <c:dLbl>
              <c:idx val="5"/>
              <c:tx>
                <c:rich>
                  <a:bodyPr/>
                  <a:lstStyle/>
                  <a:p>
                    <a:r>
                      <a:t>450.0</a:t>
                    </a:r>
                  </a:p>
                </c:rich>
              </c:tx>
              <c:showLegendKey val="0"/>
              <c:showVal val="1"/>
              <c:showCatName val="0"/>
              <c:showSerName val="0"/>
              <c:showPercent val="0"/>
              <c:showBubbleSize val="0"/>
            </c:dLbl>
            <c:dLbl>
              <c:idx val="6"/>
              <c:tx>
                <c:rich>
                  <a:bodyPr/>
                  <a:lstStyle/>
                  <a:p>
                    <a:r>
                      <a:t>188.69</a:t>
                    </a:r>
                  </a:p>
                </c:rich>
              </c:tx>
              <c:showLegendKey val="0"/>
              <c:showVal val="1"/>
              <c:showCatName val="0"/>
              <c:showSerName val="0"/>
              <c:showPercent val="0"/>
              <c:showBubbleSize val="0"/>
            </c:dLbl>
            <c:dLbl>
              <c:idx val="7"/>
              <c:tx>
                <c:rich>
                  <a:bodyPr/>
                  <a:lstStyle/>
                  <a:p>
                    <a:r>
                      <a:t>294.01</a:t>
                    </a:r>
                  </a:p>
                </c:rich>
              </c:tx>
              <c:showLegendKey val="0"/>
              <c:showVal val="1"/>
              <c:showCatName val="0"/>
              <c:showSerName val="0"/>
              <c:showPercent val="0"/>
              <c:showBubbleSize val="0"/>
            </c:dLbl>
            <c:dLbl>
              <c:idx val="8"/>
              <c:tx>
                <c:rich>
                  <a:bodyPr/>
                  <a:lstStyle/>
                  <a:p>
                    <a:r>
                      <a:t>232.54</a:t>
                    </a:r>
                  </a:p>
                </c:rich>
              </c:tx>
              <c:showLegendKey val="0"/>
              <c:showVal val="1"/>
              <c:showCatName val="0"/>
              <c:showSerName val="0"/>
              <c:showPercent val="0"/>
              <c:showBubbleSize val="0"/>
            </c:dLbl>
            <c:dLbl>
              <c:idx val="9"/>
              <c:tx>
                <c:rich>
                  <a:bodyPr/>
                  <a:lstStyle/>
                  <a:p>
                    <a:r>
                      <a:t>295.0</a:t>
                    </a:r>
                  </a:p>
                </c:rich>
              </c:tx>
              <c:showLegendKey val="0"/>
              <c:showVal val="1"/>
              <c:showCatName val="0"/>
              <c:showSerName val="0"/>
              <c:showPercent val="0"/>
              <c:showBubbleSize val="0"/>
            </c:dLbl>
            <c:dLbl>
              <c:idx val="10"/>
              <c:tx>
                <c:rich>
                  <a:bodyPr/>
                  <a:lstStyle/>
                  <a:p>
                    <a:r>
                      <a:t>362.53</a:t>
                    </a:r>
                  </a:p>
                </c:rich>
              </c:tx>
              <c:showLegendKey val="0"/>
              <c:showVal val="1"/>
              <c:showCatName val="0"/>
              <c:showSerName val="0"/>
              <c:showPercent val="0"/>
              <c:showBubbleSize val="0"/>
            </c:dLbl>
            <c:dLbl>
              <c:idx val="11"/>
              <c:tx>
                <c:rich>
                  <a:bodyPr/>
                  <a:lstStyle/>
                  <a:p>
                    <a:r>
                      <a:t>155.62</a:t>
                    </a:r>
                  </a:p>
                </c:rich>
              </c:tx>
              <c:showLegendKey val="0"/>
              <c:showVal val="1"/>
              <c:showCatName val="0"/>
              <c:showSerName val="0"/>
              <c:showPercent val="0"/>
              <c:showBubbleSize val="0"/>
            </c:dLbl>
            <c:dLbl>
              <c:idx val="12"/>
              <c:tx>
                <c:rich>
                  <a:bodyPr/>
                  <a:lstStyle/>
                  <a:p>
                    <a:r>
                      <a:t>118.11</a:t>
                    </a:r>
                  </a:p>
                </c:rich>
              </c:tx>
              <c:showLegendKey val="0"/>
              <c:showVal val="1"/>
              <c:showCatName val="0"/>
              <c:showSerName val="0"/>
              <c:showPercent val="0"/>
              <c:showBubbleSize val="0"/>
            </c:dLbl>
            <c:dLbl>
              <c:idx val="13"/>
              <c:tx>
                <c:rich>
                  <a:bodyPr/>
                  <a:lstStyle/>
                  <a:p>
                    <a:r>
                      <a:t>178.16</a:t>
                    </a:r>
                  </a:p>
                </c:rich>
              </c:tx>
              <c:showLegendKey val="0"/>
              <c:showVal val="1"/>
              <c:showCatName val="0"/>
              <c:showSerName val="0"/>
              <c:showPercent val="0"/>
              <c:showBubbleSize val="0"/>
            </c:dLbl>
            <c:dLbl>
              <c:idx val="14"/>
              <c:tx>
                <c:rich>
                  <a:bodyPr/>
                  <a:lstStyle/>
                  <a:p>
                    <a:r>
                      <a:t>156.83</a:t>
                    </a:r>
                  </a:p>
                </c:rich>
              </c:tx>
              <c:showLegendKey val="0"/>
              <c:showVal val="1"/>
              <c:showCatName val="0"/>
              <c:showSerName val="0"/>
              <c:showPercent val="0"/>
              <c:showBubbleSize val="0"/>
            </c:dLbl>
            <c:dLbl>
              <c:idx val="15"/>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Advanced Protection Sunscreen Adults Cosmetics Liquido 50+ 60Ml</c:v>
                </c:pt>
                <c:pt idx="1">
                  <c:v>Edgewell Banana Boat Mineral Sunscreen Adults Cosmetics Locion 50 60Ml</c:v>
                </c:pt>
                <c:pt idx="2">
                  <c:v>Edgewell Banana Boat Banded Pack Banded Pack 2X Sunscreen Multi 50+ 170Ml</c:v>
                </c:pt>
                <c:pt idx="3">
                  <c:v>Edgewell Banana Boat Gentle Protect Sunscreen Adults Cosmetics Locion 50 180Ml</c:v>
                </c:pt>
                <c:pt idx="4">
                  <c:v>Isdin Isdin Sunscreen Adults Derma Crema 50 50Ml</c:v>
                </c:pt>
                <c:pt idx="5">
                  <c:v>Isdin Isdin Sunscreen Adults Derma Crema 50+ 50Ml</c:v>
                </c:pt>
                <c:pt idx="6">
                  <c:v>Beiersdorf Nivea Sunscreen Adults Cosmetics Liquido 50+ 125Ml</c:v>
                </c:pt>
                <c:pt idx="7">
                  <c:v>Beiersdorf Nivea Sunscreen Adults Cosmetics Crema 50+ 200Ml</c:v>
                </c:pt>
                <c:pt idx="8">
                  <c:v>Beiersdorf Nivea Sunscreen Adults Cosmetics Crema 50 50Ml</c:v>
                </c:pt>
                <c:pt idx="9">
                  <c:v>Beiersdorf Nivea Sunscreen Kids Cosmetics Liquido 50+ 200Ml</c:v>
                </c:pt>
                <c:pt idx="10">
                  <c:v>Beiersdorf Nivea Sunscreen Adults Cosmetics Spray Liquido 50 200Ml</c:v>
                </c:pt>
                <c:pt idx="11">
                  <c:v>Others Fabricante Unif. Others Marca Unif. Sunscreen Adults Cosmetics Crema 50+ 125Ml</c:v>
                </c:pt>
                <c:pt idx="12">
                  <c:v>Others Fabricante Unif. Others Marca Unif. Sunscreen Adults Cosmetics Crema 50 100Ml</c:v>
                </c:pt>
                <c:pt idx="13">
                  <c:v>Others Fabricante Unif. Others Marca Unif. Sunscreen Adults Derma Crema 50+ 125Ml</c:v>
                </c:pt>
                <c:pt idx="14">
                  <c:v>Others Fabricante Unif. Others Marca Unif. Sunscreen Kids Derma Crema 50+ 125Ml</c:v>
                </c:pt>
                <c:pt idx="15">
                  <c:v>Others Fabricante Unif. Others Marca Unif. Sunscreen Adults Cosmetics Spray 50+ 170Ml</c:v>
                </c:pt>
              </c:strCache>
            </c:strRef>
          </c:cat>
          <c:val>
            <c:numRef>
              <c:f>Sheet1!$B$2:$B$17</c:f>
              <c:numCache>
                <c:formatCode>General</c:formatCode>
                <c:ptCount val="16"/>
                <c:pt idx="0">
                  <c:v>96.8</c:v>
                </c:pt>
                <c:pt idx="1">
                  <c:v>234.59</c:v>
                </c:pt>
                <c:pt idx="2">
                  <c:v>205.93</c:v>
                </c:pt>
                <c:pt idx="3">
                  <c:v>125.0</c:v>
                </c:pt>
                <c:pt idx="4">
                  <c:v>453.61</c:v>
                </c:pt>
                <c:pt idx="5">
                  <c:v>450.0</c:v>
                </c:pt>
                <c:pt idx="6">
                  <c:v>188.69</c:v>
                </c:pt>
                <c:pt idx="7">
                  <c:v>294.01</c:v>
                </c:pt>
                <c:pt idx="8">
                  <c:v>232.54</c:v>
                </c:pt>
                <c:pt idx="9">
                  <c:v>295.0</c:v>
                </c:pt>
                <c:pt idx="10">
                  <c:v>362.53</c:v>
                </c:pt>
                <c:pt idx="11">
                  <c:v>155.62</c:v>
                </c:pt>
                <c:pt idx="12">
                  <c:v>118.11</c:v>
                </c:pt>
                <c:pt idx="13">
                  <c:v>178.16</c:v>
                </c:pt>
                <c:pt idx="14">
                  <c:v>156.83</c:v>
                </c:pt>
                <c:pt idx="15">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189.54</a:t>
                    </a:r>
                  </a:p>
                </c:rich>
              </c:tx>
              <c:showLegendKey val="0"/>
              <c:showVal val="1"/>
              <c:showCatName val="0"/>
              <c:showSerName val="0"/>
              <c:showPercent val="0"/>
              <c:showBubbleSize val="0"/>
            </c:dLbl>
            <c:dLbl>
              <c:idx val="4"/>
              <c:tx>
                <c:rich>
                  <a:bodyPr/>
                  <a:lstStyle/>
                  <a:p>
                    <a:r>
                      <a:t>101.15</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305.1</c:v>
                </c:pt>
                <c:pt idx="1">
                  <c:v>312.14</c:v>
                </c:pt>
                <c:pt idx="2">
                  <c:v>305.29</c:v>
                </c:pt>
                <c:pt idx="3">
                  <c:v>189.54</c:v>
                </c:pt>
                <c:pt idx="4">
                  <c:v>101.15</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326.59</a:t>
                    </a:r>
                  </a:p>
                </c:rich>
              </c:tx>
              <c:showLegendKey val="0"/>
              <c:showVal val="1"/>
              <c:showCatName val="0"/>
              <c:showSerName val="0"/>
              <c:showPercent val="0"/>
              <c:showBubbleSize val="0"/>
            </c:dLbl>
            <c:dLbl>
              <c:idx val="2"/>
              <c:tx>
                <c:rich>
                  <a:bodyPr/>
                  <a:lstStyle/>
                  <a:p>
                    <a:r>
                      <a:t>290.34</a:t>
                    </a:r>
                  </a:p>
                </c:rich>
              </c:tx>
              <c:showLegendKey val="0"/>
              <c:showVal val="1"/>
              <c:showCatName val="0"/>
              <c:showSerName val="0"/>
              <c:showPercent val="0"/>
              <c:showBubbleSize val="0"/>
            </c:dLbl>
            <c:dLbl>
              <c:idx val="3"/>
              <c:tx>
                <c:rich>
                  <a:bodyPr/>
                  <a:lstStyle/>
                  <a:p>
                    <a:r>
                      <a:t>268.26</a:t>
                    </a:r>
                  </a:p>
                </c:rich>
              </c:tx>
              <c:showLegendKey val="0"/>
              <c:showVal val="1"/>
              <c:showCatName val="0"/>
              <c:showSerName val="0"/>
              <c:showPercent val="0"/>
              <c:showBubbleSize val="0"/>
            </c:dLbl>
            <c:dLbl>
              <c:idx val="4"/>
              <c:tx>
                <c:rich>
                  <a:bodyPr/>
                  <a:lstStyle/>
                  <a:p>
                    <a:r>
                      <a:t>311.93</a:t>
                    </a:r>
                  </a:p>
                </c:rich>
              </c:tx>
              <c:showLegendKey val="0"/>
              <c:showVal val="1"/>
              <c:showCatName val="0"/>
              <c:showSerName val="0"/>
              <c:showPercent val="0"/>
              <c:showBubbleSize val="0"/>
            </c:dLbl>
            <c:dLbl>
              <c:idx val="5"/>
              <c:tx>
                <c:rich>
                  <a:bodyPr/>
                  <a:lstStyle/>
                  <a:p>
                    <a:r>
                      <a:t>653.87</a:t>
                    </a:r>
                  </a:p>
                </c:rich>
              </c:tx>
              <c:showLegendKey val="0"/>
              <c:showVal val="1"/>
              <c:showCatName val="0"/>
              <c:showSerName val="0"/>
              <c:showPercent val="0"/>
              <c:showBubbleSize val="0"/>
            </c:dLbl>
            <c:dLbl>
              <c:idx val="6"/>
              <c:tx>
                <c:rich>
                  <a:bodyPr/>
                  <a:lstStyle/>
                  <a:p>
                    <a:r>
                      <a:t>648.13</a:t>
                    </a:r>
                  </a:p>
                </c:rich>
              </c:tx>
              <c:showLegendKey val="0"/>
              <c:showVal val="1"/>
              <c:showCatName val="0"/>
              <c:showSerName val="0"/>
              <c:showPercent val="0"/>
              <c:showBubbleSize val="0"/>
            </c:dLbl>
            <c:dLbl>
              <c:idx val="7"/>
              <c:tx>
                <c:rich>
                  <a:bodyPr/>
                  <a:lstStyle/>
                  <a:p>
                    <a:r>
                      <a:t>660.8</a:t>
                    </a:r>
                  </a:p>
                </c:rich>
              </c:tx>
              <c:showLegendKey val="0"/>
              <c:showVal val="1"/>
              <c:showCatName val="0"/>
              <c:showSerName val="0"/>
              <c:showPercent val="0"/>
              <c:showBubbleSize val="0"/>
            </c:dLbl>
            <c:dLbl>
              <c:idx val="8"/>
              <c:tx>
                <c:rich>
                  <a:bodyPr/>
                  <a:lstStyle/>
                  <a:p>
                    <a:r>
                      <a:t>645.72</a:t>
                    </a:r>
                  </a:p>
                </c:rich>
              </c:tx>
              <c:showLegendKey val="0"/>
              <c:showVal val="1"/>
              <c:showCatName val="0"/>
              <c:showSerName val="0"/>
              <c:showPercent val="0"/>
              <c:showBubbleSize val="0"/>
            </c:dLbl>
            <c:dLbl>
              <c:idx val="9"/>
              <c:tx>
                <c:rich>
                  <a:bodyPr/>
                  <a:lstStyle/>
                  <a:p>
                    <a:r>
                      <a:t>464.7</a:t>
                    </a:r>
                  </a:p>
                </c:rich>
              </c:tx>
              <c:showLegendKey val="0"/>
              <c:showVal val="1"/>
              <c:showCatName val="0"/>
              <c:showSerName val="0"/>
              <c:showPercent val="0"/>
              <c:showBubbleSize val="0"/>
            </c:dLbl>
            <c:dLbl>
              <c:idx val="10"/>
              <c:tx>
                <c:rich>
                  <a:bodyPr/>
                  <a:lstStyle/>
                  <a:p>
                    <a:r>
                      <a:t>379.06</a:t>
                    </a:r>
                  </a:p>
                </c:rich>
              </c:tx>
              <c:showLegendKey val="0"/>
              <c:showVal val="1"/>
              <c:showCatName val="0"/>
              <c:showSerName val="0"/>
              <c:showPercent val="0"/>
              <c:showBubbleSize val="0"/>
            </c:dLbl>
            <c:dLbl>
              <c:idx val="11"/>
              <c:tx>
                <c:rich>
                  <a:bodyPr/>
                  <a:lstStyle/>
                  <a:p>
                    <a:r>
                      <a:t>364.11</a:t>
                    </a:r>
                  </a:p>
                </c:rich>
              </c:tx>
              <c:showLegendKey val="0"/>
              <c:showVal val="1"/>
              <c:showCatName val="0"/>
              <c:showSerName val="0"/>
              <c:showPercent val="0"/>
              <c:showBubbleSize val="0"/>
            </c:dLbl>
            <c:dLbl>
              <c:idx val="12"/>
              <c:tx>
                <c:rich>
                  <a:bodyPr/>
                  <a:lstStyle/>
                  <a:p>
                    <a:r>
                      <a:t>268.43</a:t>
                    </a:r>
                  </a:p>
                </c:rich>
              </c:tx>
              <c:showLegendKey val="0"/>
              <c:showVal val="1"/>
              <c:showCatName val="0"/>
              <c:showSerName val="0"/>
              <c:showPercent val="0"/>
              <c:showBubbleSize val="0"/>
            </c:dLbl>
            <c:dLbl>
              <c:idx val="13"/>
              <c:tx>
                <c:rich>
                  <a:bodyPr/>
                  <a:lstStyle/>
                  <a:p>
                    <a:r>
                      <a:t>463.05</a:t>
                    </a:r>
                  </a:p>
                </c:rich>
              </c:tx>
              <c:showLegendKey val="0"/>
              <c:showVal val="1"/>
              <c:showCatName val="0"/>
              <c:showSerName val="0"/>
              <c:showPercent val="0"/>
              <c:showBubbleSize val="0"/>
            </c:dLbl>
            <c:dLbl>
              <c:idx val="14"/>
              <c:tx>
                <c:rich>
                  <a:bodyPr/>
                  <a:lstStyle/>
                  <a:p>
                    <a:r>
                      <a:t>397.59</a:t>
                    </a:r>
                  </a:p>
                </c:rich>
              </c:tx>
              <c:showLegendKey val="0"/>
              <c:showVal val="1"/>
              <c:showCatName val="0"/>
              <c:showSerName val="0"/>
              <c:showPercent val="0"/>
              <c:showBubbleSize val="0"/>
            </c:dLbl>
            <c:dLbl>
              <c:idx val="15"/>
              <c:tx>
                <c:rich>
                  <a:bodyPr/>
                  <a:lstStyle/>
                  <a:p>
                    <a:r>
                      <a:t>305.54</a:t>
                    </a:r>
                  </a:p>
                </c:rich>
              </c:tx>
              <c:showLegendKey val="0"/>
              <c:showVal val="1"/>
              <c:showCatName val="0"/>
              <c:showSerName val="0"/>
              <c:showPercent val="0"/>
              <c:showBubbleSize val="0"/>
            </c:dLbl>
            <c:dLbl>
              <c:idx val="16"/>
              <c:tx>
                <c:rich>
                  <a:bodyPr/>
                  <a:lstStyle/>
                  <a:p>
                    <a:r>
                      <a:t>271.17</a:t>
                    </a:r>
                  </a:p>
                </c:rich>
              </c:tx>
              <c:showLegendKey val="0"/>
              <c:showVal val="1"/>
              <c:showCatName val="0"/>
              <c:showSerName val="0"/>
              <c:showPercent val="0"/>
              <c:showBubbleSize val="0"/>
            </c:dLbl>
            <c:dLbl>
              <c:idx val="17"/>
              <c:tx>
                <c:rich>
                  <a:bodyPr/>
                  <a:lstStyle/>
                  <a:p>
                    <a:r>
                      <a:t>300.61</a:t>
                    </a:r>
                  </a:p>
                </c:rich>
              </c:tx>
              <c:showLegendKey val="0"/>
              <c:showVal val="1"/>
              <c:showCatName val="0"/>
              <c:showSerName val="0"/>
              <c:showPercent val="0"/>
              <c:showBubbleSize val="0"/>
            </c:dLbl>
            <c:dLbl>
              <c:idx val="18"/>
              <c:tx>
                <c:rich>
                  <a:bodyPr/>
                  <a:lstStyle/>
                  <a:p>
                    <a:r>
                      <a:t>305.45</a:t>
                    </a:r>
                  </a:p>
                </c:rich>
              </c:tx>
              <c:showLegendKey val="0"/>
              <c:showVal val="1"/>
              <c:showCatName val="0"/>
              <c:showSerName val="0"/>
              <c:showPercent val="0"/>
              <c:showBubbleSize val="0"/>
            </c:dLbl>
            <c:dLbl>
              <c:idx val="19"/>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Isdin Isdin Sunscreen Adults Derma Crema 50+ 50Ml</c:v>
                </c:pt>
                <c:pt idx="6">
                  <c:v>Isdin Isdin Sunscreen Adults Derma Crema 50 50Ml</c:v>
                </c:pt>
                <c:pt idx="7">
                  <c:v>Isdin Isdin Sunscreen Adults Derma Gel 50+ 250Ml</c:v>
                </c:pt>
                <c:pt idx="8">
                  <c:v>Isdin Isdin Sunscreen Adults Derma Fluido 50+ 50Ml</c:v>
                </c:pt>
                <c:pt idx="9">
                  <c:v>Isdin Isdin Sunscreen Adults Derma Stick 50 10Ml</c:v>
                </c:pt>
                <c:pt idx="10">
                  <c:v>J&amp;J Neutrogena Sunscreen Adults Derma Crema 50+ 40Ml</c:v>
                </c:pt>
                <c:pt idx="11">
                  <c:v>J&amp;J Neutrogena Sunscreen Adults Derma Crema 50 200Ml</c:v>
                </c:pt>
                <c:pt idx="12">
                  <c:v>J&amp;J Neutrogena Sunscreen Adults Derma Crema 50 120Ml</c:v>
                </c:pt>
                <c:pt idx="13">
                  <c:v>J&amp;J Neutrogena Sunscreen Adults Derma Crema 50 40Ml</c:v>
                </c:pt>
                <c:pt idx="14">
                  <c:v>J&amp;J Neutrogena Sunscreen Adults Cosmetics Stick 30 - 49 42Ml</c:v>
                </c:pt>
                <c:pt idx="15">
                  <c:v>Beiersdorf Nivea Sunscreen Adults Cosmetics Crema 50+ 200Ml</c:v>
                </c:pt>
                <c:pt idx="16">
                  <c:v>Beiersdorf Nivea Sunscreen Adults Cosmetics Crema 50 50Ml</c:v>
                </c:pt>
                <c:pt idx="17">
                  <c:v>Beiersdorf Nivea Sunscreen Adults Cosmetics Liquido 50 200Ml</c:v>
                </c:pt>
                <c:pt idx="18">
                  <c:v>Beiersdorf Nivea Sunscreen Adults Cosmetics Gel 50+ 200Ml</c:v>
                </c:pt>
                <c:pt idx="19">
                  <c:v>Beiersdorf Nivea Sunscreen Adults Cosmetics Liquido 50+ 125Ml</c:v>
                </c:pt>
              </c:strCache>
            </c:strRef>
          </c:cat>
          <c:val>
            <c:numRef>
              <c:f>Sheet1!$B$2:$B$21</c:f>
              <c:numCache>
                <c:formatCode>General</c:formatCode>
                <c:ptCount val="20"/>
                <c:pt idx="0">
                  <c:v>281.61</c:v>
                </c:pt>
                <c:pt idx="1">
                  <c:v>326.59</c:v>
                </c:pt>
                <c:pt idx="2">
                  <c:v>290.34</c:v>
                </c:pt>
                <c:pt idx="3">
                  <c:v>268.26</c:v>
                </c:pt>
                <c:pt idx="4">
                  <c:v>311.93</c:v>
                </c:pt>
                <c:pt idx="5">
                  <c:v>653.87</c:v>
                </c:pt>
                <c:pt idx="6">
                  <c:v>648.13</c:v>
                </c:pt>
                <c:pt idx="7">
                  <c:v>660.8</c:v>
                </c:pt>
                <c:pt idx="8">
                  <c:v>645.72</c:v>
                </c:pt>
                <c:pt idx="9">
                  <c:v>464.7</c:v>
                </c:pt>
                <c:pt idx="10">
                  <c:v>379.06</c:v>
                </c:pt>
                <c:pt idx="11">
                  <c:v>364.11</c:v>
                </c:pt>
                <c:pt idx="12">
                  <c:v>268.43</c:v>
                </c:pt>
                <c:pt idx="13">
                  <c:v>463.05</c:v>
                </c:pt>
                <c:pt idx="14">
                  <c:v>397.59</c:v>
                </c:pt>
                <c:pt idx="15">
                  <c:v>305.54</c:v>
                </c:pt>
                <c:pt idx="16">
                  <c:v>271.17</c:v>
                </c:pt>
                <c:pt idx="17">
                  <c:v>300.61</c:v>
                </c:pt>
                <c:pt idx="18">
                  <c:v>305.45</c:v>
                </c:pt>
                <c:pt idx="19">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653.87</a:t>
                    </a:r>
                  </a:p>
                </c:rich>
              </c:tx>
              <c:showLegendKey val="0"/>
              <c:showVal val="1"/>
              <c:showCatName val="0"/>
              <c:showSerName val="0"/>
              <c:showPercent val="0"/>
              <c:showBubbleSize val="0"/>
            </c:dLbl>
            <c:dLbl>
              <c:idx val="5"/>
              <c:tx>
                <c:rich>
                  <a:bodyPr/>
                  <a:lstStyle/>
                  <a:p>
                    <a:r>
                      <a:t>648.13</a:t>
                    </a:r>
                  </a:p>
                </c:rich>
              </c:tx>
              <c:showLegendKey val="0"/>
              <c:showVal val="1"/>
              <c:showCatName val="0"/>
              <c:showSerName val="0"/>
              <c:showPercent val="0"/>
              <c:showBubbleSize val="0"/>
            </c:dLbl>
            <c:dLbl>
              <c:idx val="6"/>
              <c:tx>
                <c:rich>
                  <a:bodyPr/>
                  <a:lstStyle/>
                  <a:p>
                    <a:r>
                      <a:t>660.8</a:t>
                    </a:r>
                  </a:p>
                </c:rich>
              </c:tx>
              <c:showLegendKey val="0"/>
              <c:showVal val="1"/>
              <c:showCatName val="0"/>
              <c:showSerName val="0"/>
              <c:showPercent val="0"/>
              <c:showBubbleSize val="0"/>
            </c:dLbl>
            <c:dLbl>
              <c:idx val="7"/>
              <c:tx>
                <c:rich>
                  <a:bodyPr/>
                  <a:lstStyle/>
                  <a:p>
                    <a:r>
                      <a:t>645.72</a:t>
                    </a:r>
                  </a:p>
                </c:rich>
              </c:tx>
              <c:showLegendKey val="0"/>
              <c:showVal val="1"/>
              <c:showCatName val="0"/>
              <c:showSerName val="0"/>
              <c:showPercent val="0"/>
              <c:showBubbleSize val="0"/>
            </c:dLbl>
            <c:dLbl>
              <c:idx val="8"/>
              <c:tx>
                <c:rich>
                  <a:bodyPr/>
                  <a:lstStyle/>
                  <a:p>
                    <a:r>
                      <a:t>464.7</a:t>
                    </a:r>
                  </a:p>
                </c:rich>
              </c:tx>
              <c:showLegendKey val="0"/>
              <c:showVal val="1"/>
              <c:showCatName val="0"/>
              <c:showSerName val="0"/>
              <c:showPercent val="0"/>
              <c:showBubbleSize val="0"/>
            </c:dLbl>
            <c:dLbl>
              <c:idx val="9"/>
              <c:tx>
                <c:rich>
                  <a:bodyPr/>
                  <a:lstStyle/>
                  <a:p>
                    <a:r>
                      <a:t>379.06</a:t>
                    </a:r>
                  </a:p>
                </c:rich>
              </c:tx>
              <c:showLegendKey val="0"/>
              <c:showVal val="1"/>
              <c:showCatName val="0"/>
              <c:showSerName val="0"/>
              <c:showPercent val="0"/>
              <c:showBubbleSize val="0"/>
            </c:dLbl>
            <c:dLbl>
              <c:idx val="10"/>
              <c:tx>
                <c:rich>
                  <a:bodyPr/>
                  <a:lstStyle/>
                  <a:p>
                    <a:r>
                      <a:t>364.11</a:t>
                    </a:r>
                  </a:p>
                </c:rich>
              </c:tx>
              <c:showLegendKey val="0"/>
              <c:showVal val="1"/>
              <c:showCatName val="0"/>
              <c:showSerName val="0"/>
              <c:showPercent val="0"/>
              <c:showBubbleSize val="0"/>
            </c:dLbl>
            <c:dLbl>
              <c:idx val="11"/>
              <c:tx>
                <c:rich>
                  <a:bodyPr/>
                  <a:lstStyle/>
                  <a:p>
                    <a:r>
                      <a:t>268.43</a:t>
                    </a:r>
                  </a:p>
                </c:rich>
              </c:tx>
              <c:showLegendKey val="0"/>
              <c:showVal val="1"/>
              <c:showCatName val="0"/>
              <c:showSerName val="0"/>
              <c:showPercent val="0"/>
              <c:showBubbleSize val="0"/>
            </c:dLbl>
            <c:dLbl>
              <c:idx val="12"/>
              <c:tx>
                <c:rich>
                  <a:bodyPr/>
                  <a:lstStyle/>
                  <a:p>
                    <a:r>
                      <a:t>463.05</a:t>
                    </a:r>
                  </a:p>
                </c:rich>
              </c:tx>
              <c:showLegendKey val="0"/>
              <c:showVal val="1"/>
              <c:showCatName val="0"/>
              <c:showSerName val="0"/>
              <c:showPercent val="0"/>
              <c:showBubbleSize val="0"/>
            </c:dLbl>
            <c:dLbl>
              <c:idx val="13"/>
              <c:tx>
                <c:rich>
                  <a:bodyPr/>
                  <a:lstStyle/>
                  <a:p>
                    <a:r>
                      <a:t>397.59</a:t>
                    </a:r>
                  </a:p>
                </c:rich>
              </c:tx>
              <c:showLegendKey val="0"/>
              <c:showVal val="1"/>
              <c:showCatName val="0"/>
              <c:showSerName val="0"/>
              <c:showPercent val="0"/>
              <c:showBubbleSize val="0"/>
            </c:dLbl>
            <c:dLbl>
              <c:idx val="14"/>
              <c:tx>
                <c:rich>
                  <a:bodyPr/>
                  <a:lstStyle/>
                  <a:p>
                    <a:r>
                      <a:t>305.54</a:t>
                    </a:r>
                  </a:p>
                </c:rich>
              </c:tx>
              <c:showLegendKey val="0"/>
              <c:showVal val="1"/>
              <c:showCatName val="0"/>
              <c:showSerName val="0"/>
              <c:showPercent val="0"/>
              <c:showBubbleSize val="0"/>
            </c:dLbl>
            <c:dLbl>
              <c:idx val="15"/>
              <c:tx>
                <c:rich>
                  <a:bodyPr/>
                  <a:lstStyle/>
                  <a:p>
                    <a:r>
                      <a:t>271.17</a:t>
                    </a:r>
                  </a:p>
                </c:rich>
              </c:tx>
              <c:showLegendKey val="0"/>
              <c:showVal val="1"/>
              <c:showCatName val="0"/>
              <c:showSerName val="0"/>
              <c:showPercent val="0"/>
              <c:showBubbleSize val="0"/>
            </c:dLbl>
            <c:dLbl>
              <c:idx val="16"/>
              <c:tx>
                <c:rich>
                  <a:bodyPr/>
                  <a:lstStyle/>
                  <a:p>
                    <a:r>
                      <a:t>300.61</a:t>
                    </a:r>
                  </a:p>
                </c:rich>
              </c:tx>
              <c:showLegendKey val="0"/>
              <c:showVal val="1"/>
              <c:showCatName val="0"/>
              <c:showSerName val="0"/>
              <c:showPercent val="0"/>
              <c:showBubbleSize val="0"/>
            </c:dLbl>
            <c:dLbl>
              <c:idx val="17"/>
              <c:tx>
                <c:rich>
                  <a:bodyPr/>
                  <a:lstStyle/>
                  <a:p>
                    <a:r>
                      <a:t>305.45</a:t>
                    </a:r>
                  </a:p>
                </c:rich>
              </c:tx>
              <c:showLegendKey val="0"/>
              <c:showVal val="1"/>
              <c:showCatName val="0"/>
              <c:showSerName val="0"/>
              <c:showPercent val="0"/>
              <c:showBubbleSize val="0"/>
            </c:dLbl>
            <c:dLbl>
              <c:idx val="18"/>
              <c:tx>
                <c:rich>
                  <a:bodyPr/>
                  <a:lstStyle/>
                  <a:p>
                    <a:r>
                      <a:t>187.8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Crema 50+ 50Ml</c:v>
                </c:pt>
                <c:pt idx="5">
                  <c:v>Isdin Isdin Sunscreen Adults Derma Crema 50 50Ml</c:v>
                </c:pt>
                <c:pt idx="6">
                  <c:v>Isdin Isdin Sunscreen Adults Derma Gel 50+ 250Ml</c:v>
                </c:pt>
                <c:pt idx="7">
                  <c:v>Isdin Isdin Sunscreen Adults Derma Fluido 50+ 50Ml</c:v>
                </c:pt>
                <c:pt idx="8">
                  <c:v>Isdin Isdin Sunscreen Adults Derma Stick 50 10Ml</c:v>
                </c:pt>
                <c:pt idx="9">
                  <c:v>J&amp;J Neutrogena Sunscreen Adults Derma Crema 50+ 40Ml</c:v>
                </c:pt>
                <c:pt idx="10">
                  <c:v>J&amp;J Neutrogena Sunscreen Adults Derma Crema 50 200Ml</c:v>
                </c:pt>
                <c:pt idx="11">
                  <c:v>J&amp;J Neutrogena Sunscreen Adults Derma Crema 50 120Ml</c:v>
                </c:pt>
                <c:pt idx="12">
                  <c:v>J&amp;J Neutrogena Sunscreen Adults Derma Crema 50 40Ml</c:v>
                </c:pt>
                <c:pt idx="13">
                  <c:v>J&amp;J Neutrogena Sunscreen Adults Cosmetics Stick 30 - 49 42Ml</c:v>
                </c:pt>
                <c:pt idx="14">
                  <c:v>Beiersdorf Nivea Sunscreen Adults Cosmetics Crema 50+ 200Ml</c:v>
                </c:pt>
                <c:pt idx="15">
                  <c:v>Beiersdorf Nivea Sunscreen Adults Cosmetics Crema 50 50Ml</c:v>
                </c:pt>
                <c:pt idx="16">
                  <c:v>Beiersdorf Nivea Sunscreen Adults Cosmetics Liquido 50 200Ml</c:v>
                </c:pt>
                <c:pt idx="17">
                  <c:v>Beiersdorf Nivea Sunscreen Adults Cosmetics Gel 50+ 200Ml</c:v>
                </c:pt>
                <c:pt idx="18">
                  <c:v>Beiersdorf Nivea Sunscreen Adults Cosmetics Liquido 50+ 125Ml</c:v>
                </c:pt>
              </c:strCache>
            </c:strRef>
          </c:cat>
          <c:val>
            <c:numRef>
              <c:f>Sheet1!$B$2:$B$20</c:f>
              <c:numCache>
                <c:formatCode>General</c:formatCode>
                <c:ptCount val="19"/>
                <c:pt idx="0">
                  <c:v>265.47</c:v>
                </c:pt>
                <c:pt idx="1">
                  <c:v>278.73</c:v>
                </c:pt>
                <c:pt idx="2">
                  <c:v>251.42</c:v>
                </c:pt>
                <c:pt idx="3">
                  <c:v>242.11</c:v>
                </c:pt>
                <c:pt idx="4">
                  <c:v>653.87</c:v>
                </c:pt>
                <c:pt idx="5">
                  <c:v>648.13</c:v>
                </c:pt>
                <c:pt idx="6">
                  <c:v>660.8</c:v>
                </c:pt>
                <c:pt idx="7">
                  <c:v>645.72</c:v>
                </c:pt>
                <c:pt idx="8">
                  <c:v>464.7</c:v>
                </c:pt>
                <c:pt idx="9">
                  <c:v>379.06</c:v>
                </c:pt>
                <c:pt idx="10">
                  <c:v>364.11</c:v>
                </c:pt>
                <c:pt idx="11">
                  <c:v>268.43</c:v>
                </c:pt>
                <c:pt idx="12">
                  <c:v>463.05</c:v>
                </c:pt>
                <c:pt idx="13">
                  <c:v>397.59</c:v>
                </c:pt>
                <c:pt idx="14">
                  <c:v>305.54</c:v>
                </c:pt>
                <c:pt idx="15">
                  <c:v>271.17</c:v>
                </c:pt>
                <c:pt idx="16">
                  <c:v>300.61</c:v>
                </c:pt>
                <c:pt idx="17">
                  <c:v>305.45</c:v>
                </c:pt>
                <c:pt idx="18">
                  <c:v>187.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664.55</a:t>
                    </a:r>
                  </a:p>
                </c:rich>
              </c:tx>
              <c:showLegendKey val="0"/>
              <c:showVal val="1"/>
              <c:showCatName val="0"/>
              <c:showSerName val="0"/>
              <c:showPercent val="0"/>
              <c:showBubbleSize val="0"/>
            </c:dLbl>
            <c:dLbl>
              <c:idx val="2"/>
              <c:tx>
                <c:rich>
                  <a:bodyPr/>
                  <a:lstStyle/>
                  <a:p>
                    <a:r>
                      <a:t>589.67</a:t>
                    </a:r>
                  </a:p>
                </c:rich>
              </c:tx>
              <c:showLegendKey val="0"/>
              <c:showVal val="1"/>
              <c:showCatName val="0"/>
              <c:showSerName val="0"/>
              <c:showPercent val="0"/>
              <c:showBubbleSize val="0"/>
            </c:dLbl>
            <c:dLbl>
              <c:idx val="3"/>
              <c:tx>
                <c:rich>
                  <a:bodyPr/>
                  <a:lstStyle/>
                  <a:p>
                    <a:r>
                      <a:t>534.15</a:t>
                    </a:r>
                  </a:p>
                </c:rich>
              </c:tx>
              <c:showLegendKey val="0"/>
              <c:showVal val="1"/>
              <c:showCatName val="0"/>
              <c:showSerName val="0"/>
              <c:showPercent val="0"/>
              <c:showBubbleSize val="0"/>
            </c:dLbl>
            <c:dLbl>
              <c:idx val="4"/>
              <c:tx>
                <c:rich>
                  <a:bodyPr/>
                  <a:lstStyle/>
                  <a:p>
                    <a:r>
                      <a:t>818.35</a:t>
                    </a:r>
                  </a:p>
                </c:rich>
              </c:tx>
              <c:showLegendKey val="0"/>
              <c:showVal val="1"/>
              <c:showCatName val="0"/>
              <c:showSerName val="0"/>
              <c:showPercent val="0"/>
              <c:showBubbleSize val="0"/>
            </c:dLbl>
            <c:dLbl>
              <c:idx val="5"/>
              <c:tx>
                <c:rich>
                  <a:bodyPr/>
                  <a:lstStyle/>
                  <a:p>
                    <a:r>
                      <a:t>155.71</a:t>
                    </a:r>
                  </a:p>
                </c:rich>
              </c:tx>
              <c:showLegendKey val="0"/>
              <c:showVal val="1"/>
              <c:showCatName val="0"/>
              <c:showSerName val="0"/>
              <c:showPercent val="0"/>
              <c:showBubbleSize val="0"/>
            </c:dLbl>
            <c:dLbl>
              <c:idx val="6"/>
              <c:tx>
                <c:rich>
                  <a:bodyPr/>
                  <a:lstStyle/>
                  <a:p>
                    <a:r>
                      <a:t>234.37</a:t>
                    </a:r>
                  </a:p>
                </c:rich>
              </c:tx>
              <c:showLegendKey val="0"/>
              <c:showVal val="1"/>
              <c:showCatName val="0"/>
              <c:showSerName val="0"/>
              <c:showPercent val="0"/>
              <c:showBubbleSize val="0"/>
            </c:dLbl>
            <c:dLbl>
              <c:idx val="7"/>
              <c:tx>
                <c:rich>
                  <a:bodyPr/>
                  <a:lstStyle/>
                  <a:p>
                    <a:r>
                      <a:t>80.21</a:t>
                    </a:r>
                  </a:p>
                </c:rich>
              </c:tx>
              <c:showLegendKey val="0"/>
              <c:showVal val="1"/>
              <c:showCatName val="0"/>
              <c:showSerName val="0"/>
              <c:showPercent val="0"/>
              <c:showBubbleSize val="0"/>
            </c:dLbl>
            <c:dLbl>
              <c:idx val="8"/>
              <c:tx>
                <c:rich>
                  <a:bodyPr/>
                  <a:lstStyle/>
                  <a:p>
                    <a:r>
                      <a:t>371.44</a:t>
                    </a:r>
                  </a:p>
                </c:rich>
              </c:tx>
              <c:showLegendKey val="0"/>
              <c:showVal val="1"/>
              <c:showCatName val="0"/>
              <c:showSerName val="0"/>
              <c:showPercent val="0"/>
              <c:showBubbleSize val="0"/>
            </c:dLbl>
            <c:dLbl>
              <c:idx val="9"/>
              <c:tx>
                <c:rich>
                  <a:bodyPr/>
                  <a:lstStyle/>
                  <a:p>
                    <a:r>
                      <a:t>73.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Tanning Sunscreen Adults Cosmetics Aceite 15 - 19 240Ml</c:v>
                </c:pt>
                <c:pt idx="1">
                  <c:v>Isdin Isdin Sunscreen Adults Derma Spray Aceite 50 200Ml</c:v>
                </c:pt>
                <c:pt idx="2">
                  <c:v>Isdin Isdin Sunscreen Adults Derma Aceite 30 200Ml</c:v>
                </c:pt>
                <c:pt idx="3">
                  <c:v>L'Oreal La Roche-Posay Sunscreen Adults Derma Spray Aceite 50 75Ml</c:v>
                </c:pt>
                <c:pt idx="4">
                  <c:v>L'Oreal La Roche-Posay Sunscreen Adults Derma Spray Aceite 50+ 200Ml</c:v>
                </c:pt>
                <c:pt idx="5">
                  <c:v>Others Fabricante Unif. Others Marca Unif. Sunscreen Adults Cosmetics Aceite 30 - 49 75Ml</c:v>
                </c:pt>
                <c:pt idx="6">
                  <c:v>Others Fabricante Unif. Others Marca Unif. Sunscreen Adults Cosmetics Aceite 30 - 49 150Ml</c:v>
                </c:pt>
                <c:pt idx="7">
                  <c:v>Others Fabricante Unif. Others Marca Unif. Sunscreen Adults Derma Spray Aceite 50+ 150Ml</c:v>
                </c:pt>
                <c:pt idx="8">
                  <c:v>Others Fabricante Unif. Others Marca Unif. Sunscreen Adults Cosmetics Spray Aceite 30 200Ml</c:v>
                </c:pt>
                <c:pt idx="9">
                  <c:v>Others Fabricante Unif. Others Marca Unif. Sunscreen Kids Derma Spray Aceite 50+ 150Ml</c:v>
                </c:pt>
              </c:strCache>
            </c:strRef>
          </c:cat>
          <c:val>
            <c:numRef>
              <c:f>Sheet1!$B$2:$B$11</c:f>
              <c:numCache>
                <c:formatCode>General</c:formatCode>
                <c:ptCount val="10"/>
                <c:pt idx="0">
                  <c:v>399.0</c:v>
                </c:pt>
                <c:pt idx="1">
                  <c:v>664.55</c:v>
                </c:pt>
                <c:pt idx="2">
                  <c:v>589.67</c:v>
                </c:pt>
                <c:pt idx="3">
                  <c:v>534.15</c:v>
                </c:pt>
                <c:pt idx="4">
                  <c:v>818.35</c:v>
                </c:pt>
                <c:pt idx="5">
                  <c:v>155.71</c:v>
                </c:pt>
                <c:pt idx="6">
                  <c:v>234.37</c:v>
                </c:pt>
                <c:pt idx="7">
                  <c:v>80.21</c:v>
                </c:pt>
                <c:pt idx="8">
                  <c:v>371.44</c:v>
                </c:pt>
                <c:pt idx="9">
                  <c:v>73.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188.44</a:t>
                    </a:r>
                  </a:p>
                </c:rich>
              </c:tx>
              <c:showLegendKey val="0"/>
              <c:showVal val="1"/>
              <c:showCatName val="0"/>
              <c:showSerName val="0"/>
              <c:showPercent val="0"/>
              <c:showBubbleSize val="0"/>
            </c:dLbl>
            <c:dLbl>
              <c:idx val="2"/>
              <c:tx>
                <c:rich>
                  <a:bodyPr/>
                  <a:lstStyle/>
                  <a:p>
                    <a:r>
                      <a:t>295.28</a:t>
                    </a:r>
                  </a:p>
                </c:rich>
              </c:tx>
              <c:showLegendKey val="0"/>
              <c:showVal val="1"/>
              <c:showCatName val="0"/>
              <c:showSerName val="0"/>
              <c:showPercent val="0"/>
              <c:showBubbleSize val="0"/>
            </c:dLbl>
            <c:dLbl>
              <c:idx val="3"/>
              <c:tx>
                <c:rich>
                  <a:bodyPr/>
                  <a:lstStyle/>
                  <a:p>
                    <a:r>
                      <a:t>208.98</a:t>
                    </a:r>
                  </a:p>
                </c:rich>
              </c:tx>
              <c:showLegendKey val="0"/>
              <c:showVal val="1"/>
              <c:showCatName val="0"/>
              <c:showSerName val="0"/>
              <c:showPercent val="0"/>
              <c:showBubbleSize val="0"/>
            </c:dLbl>
            <c:dLbl>
              <c:idx val="4"/>
              <c:tx>
                <c:rich>
                  <a:bodyPr/>
                  <a:lstStyle/>
                  <a:p>
                    <a:r>
                      <a:t>221.62</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37.7</a:t>
                    </a:r>
                  </a:p>
                </c:rich>
              </c:tx>
              <c:showLegendKey val="0"/>
              <c:showVal val="1"/>
              <c:showCatName val="0"/>
              <c:showSerName val="0"/>
              <c:showPercent val="0"/>
              <c:showBubbleSize val="0"/>
            </c:dLbl>
            <c:dLbl>
              <c:idx val="8"/>
              <c:tx>
                <c:rich>
                  <a:bodyPr/>
                  <a:lstStyle/>
                  <a:p>
                    <a:r>
                      <a:t>373.43</a:t>
                    </a:r>
                  </a:p>
                </c:rich>
              </c:tx>
              <c:showLegendKey val="0"/>
              <c:showVal val="1"/>
              <c:showCatName val="0"/>
              <c:showSerName val="0"/>
              <c:showPercent val="0"/>
              <c:showBubbleSize val="0"/>
            </c:dLbl>
            <c:dLbl>
              <c:idx val="9"/>
              <c:tx>
                <c:rich>
                  <a:bodyPr/>
                  <a:lstStyle/>
                  <a:p>
                    <a:r>
                      <a:t>333.22</a:t>
                    </a:r>
                  </a:p>
                </c:rich>
              </c:tx>
              <c:showLegendKey val="0"/>
              <c:showVal val="1"/>
              <c:showCatName val="0"/>
              <c:showSerName val="0"/>
              <c:showPercent val="0"/>
              <c:showBubbleSize val="0"/>
            </c:dLbl>
            <c:dLbl>
              <c:idx val="10"/>
              <c:tx>
                <c:rich>
                  <a:bodyPr/>
                  <a:lstStyle/>
                  <a:p>
                    <a:r>
                      <a:t>261.93</a:t>
                    </a:r>
                  </a:p>
                </c:rich>
              </c:tx>
              <c:showLegendKey val="0"/>
              <c:showVal val="1"/>
              <c:showCatName val="0"/>
              <c:showSerName val="0"/>
              <c:showPercent val="0"/>
              <c:showBubbleSize val="0"/>
            </c:dLbl>
            <c:dLbl>
              <c:idx val="11"/>
              <c:tx>
                <c:rich>
                  <a:bodyPr/>
                  <a:lstStyle/>
                  <a:p>
                    <a:r>
                      <a:t>454.66</a:t>
                    </a:r>
                  </a:p>
                </c:rich>
              </c:tx>
              <c:showLegendKey val="0"/>
              <c:showVal val="1"/>
              <c:showCatName val="0"/>
              <c:showSerName val="0"/>
              <c:showPercent val="0"/>
              <c:showBubbleSize val="0"/>
            </c:dLbl>
            <c:dLbl>
              <c:idx val="12"/>
              <c:tx>
                <c:rich>
                  <a:bodyPr/>
                  <a:lstStyle/>
                  <a:p>
                    <a:r>
                      <a:t>559.08</a:t>
                    </a:r>
                  </a:p>
                </c:rich>
              </c:tx>
              <c:showLegendKey val="0"/>
              <c:showVal val="1"/>
              <c:showCatName val="0"/>
              <c:showSerName val="0"/>
              <c:showPercent val="0"/>
              <c:showBubbleSize val="0"/>
            </c:dLbl>
            <c:dLbl>
              <c:idx val="13"/>
              <c:tx>
                <c:rich>
                  <a:bodyPr/>
                  <a:lstStyle/>
                  <a:p>
                    <a:r>
                      <a:t>276.8</a:t>
                    </a:r>
                  </a:p>
                </c:rich>
              </c:tx>
              <c:showLegendKey val="0"/>
              <c:showVal val="1"/>
              <c:showCatName val="0"/>
              <c:showSerName val="0"/>
              <c:showPercent val="0"/>
              <c:showBubbleSize val="0"/>
            </c:dLbl>
            <c:dLbl>
              <c:idx val="14"/>
              <c:tx>
                <c:rich>
                  <a:bodyPr/>
                  <a:lstStyle/>
                  <a:p>
                    <a:r>
                      <a:t>316.96</a:t>
                    </a:r>
                  </a:p>
                </c:rich>
              </c:tx>
              <c:showLegendKey val="0"/>
              <c:showVal val="1"/>
              <c:showCatName val="0"/>
              <c:showSerName val="0"/>
              <c:showPercent val="0"/>
              <c:showBubbleSize val="0"/>
            </c:dLbl>
            <c:dLbl>
              <c:idx val="15"/>
              <c:tx>
                <c:rich>
                  <a:bodyPr/>
                  <a:lstStyle/>
                  <a:p>
                    <a:r>
                      <a:t>280.16</a:t>
                    </a:r>
                  </a:p>
                </c:rich>
              </c:tx>
              <c:showLegendKey val="0"/>
              <c:showVal val="1"/>
              <c:showCatName val="0"/>
              <c:showSerName val="0"/>
              <c:showPercent val="0"/>
              <c:showBubbleSize val="0"/>
            </c:dLbl>
            <c:dLbl>
              <c:idx val="16"/>
              <c:tx>
                <c:rich>
                  <a:bodyPr/>
                  <a:lstStyle/>
                  <a:p>
                    <a:r>
                      <a:t>259.23</a:t>
                    </a:r>
                  </a:p>
                </c:rich>
              </c:tx>
              <c:showLegendKey val="0"/>
              <c:showVal val="1"/>
              <c:showCatName val="0"/>
              <c:showSerName val="0"/>
              <c:showPercent val="0"/>
              <c:showBubbleSize val="0"/>
            </c:dLbl>
            <c:dLbl>
              <c:idx val="17"/>
              <c:tx>
                <c:rich>
                  <a:bodyPr/>
                  <a:lstStyle/>
                  <a:p>
                    <a:r>
                      <a:t>300.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Hawaiian Tropic Other Sunscreen Adults Cosmetics Crema 50+ 240Ml</c:v>
                </c:pt>
                <c:pt idx="1">
                  <c:v>Edgewell Hawaiian Tropic Sheer Touch Sunscreen Adults Cosmetics Crema 50 120Ml</c:v>
                </c:pt>
                <c:pt idx="2">
                  <c:v>Edgewell Hawaiian Tropic Sheer Touch Sunscreen Adults Cosmetics Crema 30 - 49 240Ml</c:v>
                </c:pt>
                <c:pt idx="3">
                  <c:v>Edgewell Hawaiian Tropic Ozono Sunscreen Adults Cosmetics Crema 50+ 120Ml</c:v>
                </c:pt>
                <c:pt idx="4">
                  <c:v>Edgewell Hawaiian Tropic Other Sunscreen Adults Cosmetics Spray Crema 50 180Ml</c:v>
                </c:pt>
                <c:pt idx="5">
                  <c:v>Isdin Isdin Sunscreen Adults Derma Crema 50+ 50Ml</c:v>
                </c:pt>
                <c:pt idx="6">
                  <c:v>Isdin Isdin Sunscreen Adults Derma Crema 50 50Ml</c:v>
                </c:pt>
                <c:pt idx="7">
                  <c:v>Isdin Isdin Sunscreen Adults Derma Crema 30 50Ml</c:v>
                </c:pt>
                <c:pt idx="8">
                  <c:v>J&amp;J Neutrogena Sunscreen Adults Derma Crema 50+ 40Ml</c:v>
                </c:pt>
                <c:pt idx="9">
                  <c:v>J&amp;J Neutrogena Sunscreen Adults Derma Crema 50 200Ml</c:v>
                </c:pt>
                <c:pt idx="10">
                  <c:v>J&amp;J Neutrogena Sunscreen Adults Derma Crema 50 120Ml</c:v>
                </c:pt>
                <c:pt idx="11">
                  <c:v>J&amp;J Neutrogena Sunscreen Adults Derma Crema 50 40Ml</c:v>
                </c:pt>
                <c:pt idx="12">
                  <c:v>nan</c:v>
                </c:pt>
                <c:pt idx="13">
                  <c:v>Beiersdorf Nivea Sunscreen Adults Cosmetics Crema 50 50Ml</c:v>
                </c:pt>
                <c:pt idx="14">
                  <c:v>Beiersdorf Nivea Sunscreen Adults Cosmetics Crema 50+ 200Ml</c:v>
                </c:pt>
                <c:pt idx="15">
                  <c:v>Beiersdorf Nivea Sunscreen Adults Cosmetics Crema 50+ 40Ml</c:v>
                </c:pt>
                <c:pt idx="16">
                  <c:v>Beiersdorf Nivea Sunscreen Adults Cosmetics Crema 50+ 50Ml</c:v>
                </c:pt>
                <c:pt idx="17">
                  <c:v>Beiersdorf Nivea Sunscreen Adults Cosmetics Crema 30 - 49 200Ml</c:v>
                </c:pt>
              </c:strCache>
            </c:strRef>
          </c:cat>
          <c:val>
            <c:numRef>
              <c:f>Sheet1!$B$2:$B$19</c:f>
              <c:numCache>
                <c:formatCode>General</c:formatCode>
                <c:ptCount val="18"/>
                <c:pt idx="0">
                  <c:v>302.7</c:v>
                </c:pt>
                <c:pt idx="1">
                  <c:v>188.44</c:v>
                </c:pt>
                <c:pt idx="2">
                  <c:v>295.28</c:v>
                </c:pt>
                <c:pt idx="3">
                  <c:v>208.98</c:v>
                </c:pt>
                <c:pt idx="4">
                  <c:v>221.62</c:v>
                </c:pt>
                <c:pt idx="5">
                  <c:v>635.69</c:v>
                </c:pt>
                <c:pt idx="6">
                  <c:v>636.86</c:v>
                </c:pt>
                <c:pt idx="7">
                  <c:v>637.7</c:v>
                </c:pt>
                <c:pt idx="8">
                  <c:v>373.43</c:v>
                </c:pt>
                <c:pt idx="9">
                  <c:v>333.22</c:v>
                </c:pt>
                <c:pt idx="10">
                  <c:v>261.93</c:v>
                </c:pt>
                <c:pt idx="11">
                  <c:v>454.66</c:v>
                </c:pt>
                <c:pt idx="12">
                  <c:v>559.08</c:v>
                </c:pt>
                <c:pt idx="13">
                  <c:v>276.8</c:v>
                </c:pt>
                <c:pt idx="14">
                  <c:v>316.96</c:v>
                </c:pt>
                <c:pt idx="15">
                  <c:v>280.16</c:v>
                </c:pt>
                <c:pt idx="16">
                  <c:v>259.23</c:v>
                </c:pt>
                <c:pt idx="17">
                  <c:v>300.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showLegendKey val="0"/>
              <c:showVal val="1"/>
              <c:showCatName val="0"/>
              <c:showSerName val="0"/>
              <c:showPercent val="0"/>
              <c:showBubbleSize val="0"/>
            </c:dLbl>
            <c:dLbl>
              <c:idx val="1"/>
              <c:tx>
                <c:rich>
                  <a:bodyPr/>
                  <a:lstStyle/>
                  <a:p>
                    <a:r>
                      <a:t>283.81</a:t>
                    </a:r>
                  </a:p>
                </c:rich>
              </c:tx>
              <c:showLegendKey val="0"/>
              <c:showVal val="1"/>
              <c:showCatName val="0"/>
              <c:showSerName val="0"/>
              <c:showPercent val="0"/>
              <c:showBubbleSize val="0"/>
            </c:dLbl>
            <c:dLbl>
              <c:idx val="2"/>
              <c:tx>
                <c:rich>
                  <a:bodyPr/>
                  <a:lstStyle/>
                  <a:p>
                    <a:r>
                      <a:t>297.2</a:t>
                    </a:r>
                  </a:p>
                </c:rich>
              </c:tx>
              <c:showLegendKey val="0"/>
              <c:showVal val="1"/>
              <c:showCatName val="0"/>
              <c:showSerName val="0"/>
              <c:showPercent val="0"/>
              <c:showBubbleSize val="0"/>
            </c:dLbl>
            <c:dLbl>
              <c:idx val="3"/>
              <c:tx>
                <c:rich>
                  <a:bodyPr/>
                  <a:lstStyle/>
                  <a:p>
                    <a:r>
                      <a:t>254.41</a:t>
                    </a:r>
                  </a:p>
                </c:rich>
              </c:tx>
              <c:showLegendKey val="0"/>
              <c:showVal val="1"/>
              <c:showCatName val="0"/>
              <c:showSerName val="0"/>
              <c:showPercent val="0"/>
              <c:showBubbleSize val="0"/>
            </c:dLbl>
            <c:dLbl>
              <c:idx val="4"/>
              <c:tx>
                <c:rich>
                  <a:bodyPr/>
                  <a:lstStyle/>
                  <a:p>
                    <a:r>
                      <a:t>269.47</a:t>
                    </a:r>
                  </a:p>
                </c:rich>
              </c:tx>
              <c:showLegendKey val="0"/>
              <c:showVal val="1"/>
              <c:showCatName val="0"/>
              <c:showSerName val="0"/>
              <c:showPercent val="0"/>
              <c:showBubbleSize val="0"/>
            </c:dLbl>
            <c:dLbl>
              <c:idx val="5"/>
              <c:tx>
                <c:rich>
                  <a:bodyPr/>
                  <a:lstStyle/>
                  <a:p>
                    <a:r>
                      <a:t>635.69</a:t>
                    </a:r>
                  </a:p>
                </c:rich>
              </c:tx>
              <c:showLegendKey val="0"/>
              <c:showVal val="1"/>
              <c:showCatName val="0"/>
              <c:showSerName val="0"/>
              <c:showPercent val="0"/>
              <c:showBubbleSize val="0"/>
            </c:dLbl>
            <c:dLbl>
              <c:idx val="6"/>
              <c:tx>
                <c:rich>
                  <a:bodyPr/>
                  <a:lstStyle/>
                  <a:p>
                    <a:r>
                      <a:t>636.86</a:t>
                    </a:r>
                  </a:p>
                </c:rich>
              </c:tx>
              <c:showLegendKey val="0"/>
              <c:showVal val="1"/>
              <c:showCatName val="0"/>
              <c:showSerName val="0"/>
              <c:showPercent val="0"/>
              <c:showBubbleSize val="0"/>
            </c:dLbl>
            <c:dLbl>
              <c:idx val="7"/>
              <c:tx>
                <c:rich>
                  <a:bodyPr/>
                  <a:lstStyle/>
                  <a:p>
                    <a:r>
                      <a:t>637.7</a:t>
                    </a:r>
                  </a:p>
                </c:rich>
              </c:tx>
              <c:showLegendKey val="0"/>
              <c:showVal val="1"/>
              <c:showCatName val="0"/>
              <c:showSerName val="0"/>
              <c:showPercent val="0"/>
              <c:showBubbleSize val="0"/>
            </c:dLbl>
            <c:dLbl>
              <c:idx val="8"/>
              <c:tx>
                <c:rich>
                  <a:bodyPr/>
                  <a:lstStyle/>
                  <a:p>
                    <a:r>
                      <a:t>373.43</a:t>
                    </a:r>
                  </a:p>
                </c:rich>
              </c:tx>
              <c:showLegendKey val="0"/>
              <c:showVal val="1"/>
              <c:showCatName val="0"/>
              <c:showSerName val="0"/>
              <c:showPercent val="0"/>
              <c:showBubbleSize val="0"/>
            </c:dLbl>
            <c:dLbl>
              <c:idx val="9"/>
              <c:tx>
                <c:rich>
                  <a:bodyPr/>
                  <a:lstStyle/>
                  <a:p>
                    <a:r>
                      <a:t>333.22</a:t>
                    </a:r>
                  </a:p>
                </c:rich>
              </c:tx>
              <c:showLegendKey val="0"/>
              <c:showVal val="1"/>
              <c:showCatName val="0"/>
              <c:showSerName val="0"/>
              <c:showPercent val="0"/>
              <c:showBubbleSize val="0"/>
            </c:dLbl>
            <c:dLbl>
              <c:idx val="10"/>
              <c:tx>
                <c:rich>
                  <a:bodyPr/>
                  <a:lstStyle/>
                  <a:p>
                    <a:r>
                      <a:t>261.93</a:t>
                    </a:r>
                  </a:p>
                </c:rich>
              </c:tx>
              <c:showLegendKey val="0"/>
              <c:showVal val="1"/>
              <c:showCatName val="0"/>
              <c:showSerName val="0"/>
              <c:showPercent val="0"/>
              <c:showBubbleSize val="0"/>
            </c:dLbl>
            <c:dLbl>
              <c:idx val="11"/>
              <c:tx>
                <c:rich>
                  <a:bodyPr/>
                  <a:lstStyle/>
                  <a:p>
                    <a:r>
                      <a:t>454.66</a:t>
                    </a:r>
                  </a:p>
                </c:rich>
              </c:tx>
              <c:showLegendKey val="0"/>
              <c:showVal val="1"/>
              <c:showCatName val="0"/>
              <c:showSerName val="0"/>
              <c:showPercent val="0"/>
              <c:showBubbleSize val="0"/>
            </c:dLbl>
            <c:dLbl>
              <c:idx val="12"/>
              <c:tx>
                <c:rich>
                  <a:bodyPr/>
                  <a:lstStyle/>
                  <a:p>
                    <a:r>
                      <a:t>559.08</a:t>
                    </a:r>
                  </a:p>
                </c:rich>
              </c:tx>
              <c:showLegendKey val="0"/>
              <c:showVal val="1"/>
              <c:showCatName val="0"/>
              <c:showSerName val="0"/>
              <c:showPercent val="0"/>
              <c:showBubbleSize val="0"/>
            </c:dLbl>
            <c:dLbl>
              <c:idx val="13"/>
              <c:tx>
                <c:rich>
                  <a:bodyPr/>
                  <a:lstStyle/>
                  <a:p>
                    <a:r>
                      <a:t>276.8</a:t>
                    </a:r>
                  </a:p>
                </c:rich>
              </c:tx>
              <c:showLegendKey val="0"/>
              <c:showVal val="1"/>
              <c:showCatName val="0"/>
              <c:showSerName val="0"/>
              <c:showPercent val="0"/>
              <c:showBubbleSize val="0"/>
            </c:dLbl>
            <c:dLbl>
              <c:idx val="14"/>
              <c:tx>
                <c:rich>
                  <a:bodyPr/>
                  <a:lstStyle/>
                  <a:p>
                    <a:r>
                      <a:t>316.96</a:t>
                    </a:r>
                  </a:p>
                </c:rich>
              </c:tx>
              <c:showLegendKey val="0"/>
              <c:showVal val="1"/>
              <c:showCatName val="0"/>
              <c:showSerName val="0"/>
              <c:showPercent val="0"/>
              <c:showBubbleSize val="0"/>
            </c:dLbl>
            <c:dLbl>
              <c:idx val="15"/>
              <c:tx>
                <c:rich>
                  <a:bodyPr/>
                  <a:lstStyle/>
                  <a:p>
                    <a:r>
                      <a:t>280.16</a:t>
                    </a:r>
                  </a:p>
                </c:rich>
              </c:tx>
              <c:showLegendKey val="0"/>
              <c:showVal val="1"/>
              <c:showCatName val="0"/>
              <c:showSerName val="0"/>
              <c:showPercent val="0"/>
              <c:showBubbleSize val="0"/>
            </c:dLbl>
            <c:dLbl>
              <c:idx val="16"/>
              <c:tx>
                <c:rich>
                  <a:bodyPr/>
                  <a:lstStyle/>
                  <a:p>
                    <a:r>
                      <a:t>259.23</a:t>
                    </a:r>
                  </a:p>
                </c:rich>
              </c:tx>
              <c:showLegendKey val="0"/>
              <c:showVal val="1"/>
              <c:showCatName val="0"/>
              <c:showSerName val="0"/>
              <c:showPercent val="0"/>
              <c:showBubbleSize val="0"/>
            </c:dLbl>
            <c:dLbl>
              <c:idx val="17"/>
              <c:tx>
                <c:rich>
                  <a:bodyPr/>
                  <a:lstStyle/>
                  <a:p>
                    <a:r>
                      <a:t>300.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Kids Sport Sunscreen Kids Cosmetics Crema 50 180Ml</c:v>
                </c:pt>
                <c:pt idx="4">
                  <c:v>Edgewell Banana Boat Dry Balance Sunscreen Adults Cosmetics Spray Crema 50+ 220Ml</c:v>
                </c:pt>
                <c:pt idx="5">
                  <c:v>Isdin Isdin Sunscreen Adults Derma Crema 50+ 50Ml</c:v>
                </c:pt>
                <c:pt idx="6">
                  <c:v>Isdin Isdin Sunscreen Adults Derma Crema 50 50Ml</c:v>
                </c:pt>
                <c:pt idx="7">
                  <c:v>Isdin Isdin Sunscreen Adults Derma Crema 30 50Ml</c:v>
                </c:pt>
                <c:pt idx="8">
                  <c:v>J&amp;J Neutrogena Sunscreen Adults Derma Crema 50+ 40Ml</c:v>
                </c:pt>
                <c:pt idx="9">
                  <c:v>J&amp;J Neutrogena Sunscreen Adults Derma Crema 50 200Ml</c:v>
                </c:pt>
                <c:pt idx="10">
                  <c:v>J&amp;J Neutrogena Sunscreen Adults Derma Crema 50 120Ml</c:v>
                </c:pt>
                <c:pt idx="11">
                  <c:v>J&amp;J Neutrogena Sunscreen Adults Derma Crema 50 40Ml</c:v>
                </c:pt>
                <c:pt idx="12">
                  <c:v>nan</c:v>
                </c:pt>
                <c:pt idx="13">
                  <c:v>Beiersdorf Nivea Sunscreen Adults Cosmetics Crema 50 50Ml</c:v>
                </c:pt>
                <c:pt idx="14">
                  <c:v>Beiersdorf Nivea Sunscreen Adults Cosmetics Crema 50+ 200Ml</c:v>
                </c:pt>
                <c:pt idx="15">
                  <c:v>Beiersdorf Nivea Sunscreen Adults Cosmetics Crema 50+ 40Ml</c:v>
                </c:pt>
                <c:pt idx="16">
                  <c:v>Beiersdorf Nivea Sunscreen Adults Cosmetics Crema 50+ 50Ml</c:v>
                </c:pt>
                <c:pt idx="17">
                  <c:v>Beiersdorf Nivea Sunscreen Adults Cosmetics Crema 30 - 49 200Ml</c:v>
                </c:pt>
              </c:strCache>
            </c:strRef>
          </c:cat>
          <c:val>
            <c:numRef>
              <c:f>Sheet1!$B$2:$B$19</c:f>
              <c:numCache>
                <c:formatCode>General</c:formatCode>
                <c:ptCount val="18"/>
                <c:pt idx="0">
                  <c:v>296.61</c:v>
                </c:pt>
                <c:pt idx="1">
                  <c:v>283.81</c:v>
                </c:pt>
                <c:pt idx="2">
                  <c:v>297.2</c:v>
                </c:pt>
                <c:pt idx="3">
                  <c:v>254.41</c:v>
                </c:pt>
                <c:pt idx="4">
                  <c:v>269.47</c:v>
                </c:pt>
                <c:pt idx="5">
                  <c:v>635.69</c:v>
                </c:pt>
                <c:pt idx="6">
                  <c:v>636.86</c:v>
                </c:pt>
                <c:pt idx="7">
                  <c:v>637.7</c:v>
                </c:pt>
                <c:pt idx="8">
                  <c:v>373.43</c:v>
                </c:pt>
                <c:pt idx="9">
                  <c:v>333.22</c:v>
                </c:pt>
                <c:pt idx="10">
                  <c:v>261.93</c:v>
                </c:pt>
                <c:pt idx="11">
                  <c:v>454.66</c:v>
                </c:pt>
                <c:pt idx="12">
                  <c:v>559.08</c:v>
                </c:pt>
                <c:pt idx="13">
                  <c:v>276.8</c:v>
                </c:pt>
                <c:pt idx="14">
                  <c:v>316.96</c:v>
                </c:pt>
                <c:pt idx="15">
                  <c:v>280.16</c:v>
                </c:pt>
                <c:pt idx="16">
                  <c:v>259.23</c:v>
                </c:pt>
                <c:pt idx="17">
                  <c:v>300.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72</a:t>
                    </a:r>
                  </a:p>
                </c:rich>
              </c:tx>
              <c:dLblPos val="t"/>
              <c:showLegendKey val="0"/>
              <c:showVal val="1"/>
              <c:showCatName val="0"/>
              <c:showSerName val="0"/>
              <c:showPercent val="0"/>
              <c:showBubbleSize val="0"/>
            </c:dLbl>
            <c:dLbl>
              <c:idx val="1"/>
              <c:tx>
                <c:rich>
                  <a:bodyPr/>
                  <a:lstStyle/>
                  <a:p>
                    <a:r>
                      <a:t>286.89</a:t>
                    </a:r>
                  </a:p>
                </c:rich>
              </c:tx>
              <c:dLblPos val="t"/>
              <c:showLegendKey val="0"/>
              <c:showVal val="1"/>
              <c:showCatName val="0"/>
              <c:showSerName val="0"/>
              <c:showPercent val="0"/>
              <c:showBubbleSize val="0"/>
            </c:dLbl>
            <c:dLbl>
              <c:idx val="2"/>
              <c:tx>
                <c:rich>
                  <a:bodyPr/>
                  <a:lstStyle/>
                  <a:p>
                    <a:r>
                      <a:t>286.0</a:t>
                    </a:r>
                  </a:p>
                </c:rich>
              </c:tx>
              <c:dLblPos val="t"/>
              <c:showLegendKey val="0"/>
              <c:showVal val="1"/>
              <c:showCatName val="0"/>
              <c:showSerName val="0"/>
              <c:showPercent val="0"/>
              <c:showBubbleSize val="0"/>
            </c:dLbl>
            <c:dLbl>
              <c:idx val="3"/>
              <c:tx>
                <c:rich>
                  <a:bodyPr/>
                  <a:lstStyle/>
                  <a:p>
                    <a:r>
                      <a:t>312.34</a:t>
                    </a:r>
                  </a:p>
                </c:rich>
              </c:tx>
              <c:dLblPos val="t"/>
              <c:showLegendKey val="0"/>
              <c:showVal val="1"/>
              <c:showCatName val="0"/>
              <c:showSerName val="0"/>
              <c:showPercent val="0"/>
              <c:showBubbleSize val="0"/>
            </c:dLbl>
            <c:dLbl>
              <c:idx val="4"/>
              <c:tx>
                <c:rich>
                  <a:bodyPr/>
                  <a:lstStyle/>
                  <a:p>
                    <a:r>
                      <a:t>294.17</a:t>
                    </a:r>
                  </a:p>
                </c:rich>
              </c:tx>
              <c:dLblPos val="t"/>
              <c:showLegendKey val="0"/>
              <c:showVal val="1"/>
              <c:showCatName val="0"/>
              <c:showSerName val="0"/>
              <c:showPercent val="0"/>
              <c:showBubbleSize val="0"/>
            </c:dLbl>
            <c:dLbl>
              <c:idx val="5"/>
              <c:tx>
                <c:rich>
                  <a:bodyPr/>
                  <a:lstStyle/>
                  <a:p>
                    <a:r>
                      <a:t>104.39</a:t>
                    </a:r>
                  </a:p>
                </c:rich>
              </c:tx>
              <c:dLblPos val="t"/>
              <c:showLegendKey val="0"/>
              <c:showVal val="1"/>
              <c:showCatName val="0"/>
              <c:showSerName val="0"/>
              <c:showPercent val="0"/>
              <c:showBubbleSize val="0"/>
            </c:dLbl>
            <c:dLbl>
              <c:idx val="6"/>
              <c:tx>
                <c:rich>
                  <a:bodyPr/>
                  <a:lstStyle/>
                  <a:p>
                    <a:r>
                      <a:t>184.24</a:t>
                    </a:r>
                  </a:p>
                </c:rich>
              </c:tx>
              <c:dLblPos val="t"/>
              <c:showLegendKey val="0"/>
              <c:showVal val="1"/>
              <c:showCatName val="0"/>
              <c:showSerName val="0"/>
              <c:showPercent val="0"/>
              <c:showBubbleSize val="0"/>
            </c:dLbl>
            <c:dLbl>
              <c:idx val="7"/>
              <c:tx>
                <c:rich>
                  <a:bodyPr/>
                  <a:lstStyle/>
                  <a:p>
                    <a:r>
                      <a:t>274.35</a:t>
                    </a:r>
                  </a:p>
                </c:rich>
              </c:tx>
              <c:dLblPos val="t"/>
              <c:showLegendKey val="0"/>
              <c:showVal val="1"/>
              <c:showCatName val="0"/>
              <c:showSerName val="0"/>
              <c:showPercent val="0"/>
              <c:showBubbleSize val="0"/>
            </c:dLbl>
            <c:dLbl>
              <c:idx val="8"/>
              <c:tx>
                <c:rich>
                  <a:bodyPr/>
                  <a:lstStyle/>
                  <a:p>
                    <a:r>
                      <a:t>290.86</a:t>
                    </a:r>
                  </a:p>
                </c:rich>
              </c:tx>
              <c:dLblPos val="t"/>
              <c:showLegendKey val="0"/>
              <c:showVal val="1"/>
              <c:showCatName val="0"/>
              <c:showSerName val="0"/>
              <c:showPercent val="0"/>
              <c:showBubbleSize val="0"/>
            </c:dLbl>
            <c:dLbl>
              <c:idx val="9"/>
              <c:tx>
                <c:rich>
                  <a:bodyPr/>
                  <a:lstStyle/>
                  <a:p>
                    <a:r>
                      <a:t>92.37</a:t>
                    </a:r>
                  </a:p>
                </c:rich>
              </c:tx>
              <c:dLblPos val="t"/>
              <c:showLegendKey val="0"/>
              <c:showVal val="1"/>
              <c:showCatName val="0"/>
              <c:showSerName val="0"/>
              <c:showPercent val="0"/>
              <c:showBubbleSize val="0"/>
            </c:dLbl>
            <c:dLbl>
              <c:idx val="10"/>
              <c:tx>
                <c:rich>
                  <a:bodyPr/>
                  <a:lstStyle/>
                  <a:p>
                    <a:r>
                      <a:t>282.91</a:t>
                    </a:r>
                  </a:p>
                </c:rich>
              </c:tx>
              <c:dLblPos val="t"/>
              <c:showLegendKey val="0"/>
              <c:showVal val="1"/>
              <c:showCatName val="0"/>
              <c:showSerName val="0"/>
              <c:showPercent val="0"/>
              <c:showBubbleSize val="0"/>
            </c:dLbl>
            <c:dLbl>
              <c:idx val="11"/>
              <c:tx>
                <c:rich>
                  <a:bodyPr/>
                  <a:lstStyle/>
                  <a:p>
                    <a:r>
                      <a:t>294.84</a:t>
                    </a:r>
                  </a:p>
                </c:rich>
              </c:tx>
              <c:dLblPos val="t"/>
              <c:showLegendKey val="0"/>
              <c:showVal val="1"/>
              <c:showCatName val="0"/>
              <c:showSerName val="0"/>
              <c:showPercent val="0"/>
              <c:showBubbleSize val="0"/>
            </c:dLbl>
            <c:dLbl>
              <c:idx val="12"/>
              <c:tx>
                <c:rich>
                  <a:bodyPr/>
                  <a:lstStyle/>
                  <a:p>
                    <a:r>
                      <a:t>287.44</a:t>
                    </a:r>
                  </a:p>
                </c:rich>
              </c:tx>
              <c:dLblPos val="t"/>
              <c:showLegendKey val="0"/>
              <c:showVal val="1"/>
              <c:showCatName val="0"/>
              <c:showSerName val="0"/>
              <c:showPercent val="0"/>
              <c:showBubbleSize val="0"/>
            </c:dLbl>
            <c:dLbl>
              <c:idx val="13"/>
              <c:tx>
                <c:rich>
                  <a:bodyPr/>
                  <a:lstStyle/>
                  <a:p>
                    <a:r>
                      <a:t>278.95</a:t>
                    </a:r>
                  </a:p>
                </c:rich>
              </c:tx>
              <c:dLblPos val="t"/>
              <c:showLegendKey val="0"/>
              <c:showVal val="1"/>
              <c:showCatName val="0"/>
              <c:showSerName val="0"/>
              <c:showPercent val="0"/>
              <c:showBubbleSize val="0"/>
            </c:dLbl>
            <c:dLbl>
              <c:idx val="14"/>
              <c:tx>
                <c:rich>
                  <a:bodyPr/>
                  <a:lstStyle/>
                  <a:p>
                    <a:r>
                      <a:t>181.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Ozono Sunscreen Adults Cosmetics Spray Liquido 50+ 180Ml</c:v>
                </c:pt>
                <c:pt idx="5">
                  <c:v>Edgewell Hawaiian Tropic Ozono Sunscreen Adults Cosmetics Liquido 50+ 90Ml</c:v>
                </c:pt>
                <c:pt idx="6">
                  <c:v>Edgewell Hawaiian Tropic Sheer Touch Sunscreen Adults Cosmetics Crema 50 120Ml</c:v>
                </c:pt>
                <c:pt idx="7">
                  <c:v>Edgewell Hawaiian Tropic Sheer Touch Sunscreen Adults Cosmetics Crema 30 - 49 240Ml</c:v>
                </c:pt>
                <c:pt idx="8">
                  <c:v>Edgewell Hawaiian Tropic Silk Hydration Sunscreen Adults Cosmetics Liquido 50 180Ml</c:v>
                </c:pt>
                <c:pt idx="9">
                  <c:v>Edgewell Hawaiian Tropic Island Sport Sunscreen Adults Sport Liquido 50 60Ml</c:v>
                </c:pt>
                <c:pt idx="10">
                  <c:v>Edgewell Hawaiian Tropic Tanning Sunscreen Adults Cosmetics Spray Liquido 15 - 19 220Ml</c:v>
                </c:pt>
                <c:pt idx="11">
                  <c:v>Edgewell Hawaiian Tropic Silk Hydration Sunscreen Adults Cosmetics Spray Liquido 50+ 18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89.72</c:v>
                </c:pt>
                <c:pt idx="1">
                  <c:v>286.89</c:v>
                </c:pt>
                <c:pt idx="2">
                  <c:v>286.0</c:v>
                </c:pt>
                <c:pt idx="3">
                  <c:v>312.34</c:v>
                </c:pt>
                <c:pt idx="4">
                  <c:v>294.17</c:v>
                </c:pt>
                <c:pt idx="5">
                  <c:v>104.39</c:v>
                </c:pt>
                <c:pt idx="6">
                  <c:v>184.24</c:v>
                </c:pt>
                <c:pt idx="7">
                  <c:v>274.35</c:v>
                </c:pt>
                <c:pt idx="8">
                  <c:v>290.86</c:v>
                </c:pt>
                <c:pt idx="9">
                  <c:v>92.37</c:v>
                </c:pt>
                <c:pt idx="10">
                  <c:v>282.91</c:v>
                </c:pt>
                <c:pt idx="11">
                  <c:v>294.84</c:v>
                </c:pt>
                <c:pt idx="12">
                  <c:v>287.44</c:v>
                </c:pt>
                <c:pt idx="13">
                  <c:v>278.95</c:v>
                </c:pt>
                <c:pt idx="14">
                  <c:v>181.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05</a:t>
                    </a:r>
                  </a:p>
                </c:rich>
              </c:tx>
              <c:showLegendKey val="0"/>
              <c:showVal val="1"/>
              <c:showCatName val="0"/>
              <c:showSerName val="0"/>
              <c:showPercent val="0"/>
              <c:showBubbleSize val="0"/>
            </c:dLbl>
            <c:dLbl>
              <c:idx val="1"/>
              <c:tx>
                <c:rich>
                  <a:bodyPr/>
                  <a:lstStyle/>
                  <a:p>
                    <a:r>
                      <a:t>868.3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Mineral Sunscreen Adults Cosmetics Emulsion 30 - 49 30Ml</c:v>
                </c:pt>
                <c:pt idx="1">
                  <c:v>Others Fabricante Unif. Others Marca Unif. Sunscreen Adults Derma Emulsion 50 50Ml</c:v>
                </c:pt>
              </c:strCache>
            </c:strRef>
          </c:cat>
          <c:val>
            <c:numRef>
              <c:f>Sheet1!$B$2:$B$3</c:f>
              <c:numCache>
                <c:formatCode>General</c:formatCode>
                <c:ptCount val="2"/>
                <c:pt idx="0">
                  <c:v>38.05</c:v>
                </c:pt>
                <c:pt idx="1">
                  <c:v>868.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73</a:t>
                    </a:r>
                  </a:p>
                </c:rich>
              </c:tx>
              <c:showLegendKey val="0"/>
              <c:showVal val="1"/>
              <c:showCatName val="0"/>
              <c:showSerName val="0"/>
              <c:showPercent val="0"/>
              <c:showBubbleSize val="0"/>
            </c:dLbl>
            <c:dLbl>
              <c:idx val="1"/>
              <c:tx>
                <c:rich>
                  <a:bodyPr/>
                  <a:lstStyle/>
                  <a:p>
                    <a:r>
                      <a:t>622.04</a:t>
                    </a:r>
                  </a:p>
                </c:rich>
              </c:tx>
              <c:showLegendKey val="0"/>
              <c:showVal val="1"/>
              <c:showCatName val="0"/>
              <c:showSerName val="0"/>
              <c:showPercent val="0"/>
              <c:showBubbleSize val="0"/>
            </c:dLbl>
            <c:dLbl>
              <c:idx val="2"/>
              <c:tx>
                <c:rich>
                  <a:bodyPr/>
                  <a:lstStyle/>
                  <a:p>
                    <a:r>
                      <a:t>665.28</a:t>
                    </a:r>
                  </a:p>
                </c:rich>
              </c:tx>
              <c:showLegendKey val="0"/>
              <c:showVal val="1"/>
              <c:showCatName val="0"/>
              <c:showSerName val="0"/>
              <c:showPercent val="0"/>
              <c:showBubbleSize val="0"/>
            </c:dLbl>
            <c:dLbl>
              <c:idx val="3"/>
              <c:tx>
                <c:rich>
                  <a:bodyPr/>
                  <a:lstStyle/>
                  <a:p>
                    <a:r>
                      <a:t>741.94</a:t>
                    </a:r>
                  </a:p>
                </c:rich>
              </c:tx>
              <c:showLegendKey val="0"/>
              <c:showVal val="1"/>
              <c:showCatName val="0"/>
              <c:showSerName val="0"/>
              <c:showPercent val="0"/>
              <c:showBubbleSize val="0"/>
            </c:dLbl>
            <c:dLbl>
              <c:idx val="4"/>
              <c:tx>
                <c:rich>
                  <a:bodyPr/>
                  <a:lstStyle/>
                  <a:p>
                    <a:r>
                      <a:t>824.58</a:t>
                    </a:r>
                  </a:p>
                </c:rich>
              </c:tx>
              <c:showLegendKey val="0"/>
              <c:showVal val="1"/>
              <c:showCatName val="0"/>
              <c:showSerName val="0"/>
              <c:showPercent val="0"/>
              <c:showBubbleSize val="0"/>
            </c:dLbl>
            <c:dLbl>
              <c:idx val="5"/>
              <c:tx>
                <c:rich>
                  <a:bodyPr/>
                  <a:lstStyle/>
                  <a:p>
                    <a:r>
                      <a:t>625.28</a:t>
                    </a:r>
                  </a:p>
                </c:rich>
              </c:tx>
              <c:showLegendKey val="0"/>
              <c:showVal val="1"/>
              <c:showCatName val="0"/>
              <c:showSerName val="0"/>
              <c:showPercent val="0"/>
              <c:showBubbleSize val="0"/>
            </c:dLbl>
            <c:dLbl>
              <c:idx val="6"/>
              <c:tx>
                <c:rich>
                  <a:bodyPr/>
                  <a:lstStyle/>
                  <a:p>
                    <a:r>
                      <a:t>713.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L'Oreal La Roche-Posay Sunscreen Adults Derma Fluido 50+ 50Ml</c:v>
                </c:pt>
                <c:pt idx="2">
                  <c:v>Isdin Isdin Sunscreen Adults Derma Fluido 50+ 50Ml</c:v>
                </c:pt>
                <c:pt idx="3">
                  <c:v>Pierre Fabre Avene Sunscreen Adults Derma Fluido 50+ 50Ml</c:v>
                </c:pt>
                <c:pt idx="4">
                  <c:v>Pierre Fabre Avene Sunscreen Adults Derma Fluido 50+ 40Ml</c:v>
                </c:pt>
                <c:pt idx="5">
                  <c:v>Isdin Isdin Sunscreen Baby Derma Fluido 50 50Ml</c:v>
                </c:pt>
                <c:pt idx="6">
                  <c:v>L'Oreal La Roche-Posay Sunscreen Kids Derma Fluido 50+ 50Ml</c:v>
                </c:pt>
              </c:strCache>
            </c:strRef>
          </c:cat>
          <c:val>
            <c:numRef>
              <c:f>Sheet1!$B$2:$B$8</c:f>
              <c:numCache>
                <c:formatCode>General</c:formatCode>
                <c:ptCount val="7"/>
                <c:pt idx="0">
                  <c:v>292.73</c:v>
                </c:pt>
                <c:pt idx="1">
                  <c:v>622.04</c:v>
                </c:pt>
                <c:pt idx="2">
                  <c:v>665.28</c:v>
                </c:pt>
                <c:pt idx="3">
                  <c:v>741.94</c:v>
                </c:pt>
                <c:pt idx="4">
                  <c:v>824.58</c:v>
                </c:pt>
                <c:pt idx="5">
                  <c:v>625.28</c:v>
                </c:pt>
                <c:pt idx="6">
                  <c:v>713.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59</a:t>
                    </a:r>
                  </a:p>
                </c:rich>
              </c:tx>
              <c:showLegendKey val="0"/>
              <c:showVal val="1"/>
              <c:showCatName val="0"/>
              <c:showSerName val="0"/>
              <c:showPercent val="0"/>
              <c:showBubbleSize val="0"/>
            </c:dLbl>
            <c:dLbl>
              <c:idx val="1"/>
              <c:tx>
                <c:rich>
                  <a:bodyPr/>
                  <a:lstStyle/>
                  <a:p>
                    <a:r>
                      <a:t>305.15</a:t>
                    </a:r>
                  </a:p>
                </c:rich>
              </c:tx>
              <c:showLegendKey val="0"/>
              <c:showVal val="1"/>
              <c:showCatName val="0"/>
              <c:showSerName val="0"/>
              <c:showPercent val="0"/>
              <c:showBubbleSize val="0"/>
            </c:dLbl>
            <c:dLbl>
              <c:idx val="2"/>
              <c:tx>
                <c:rich>
                  <a:bodyPr/>
                  <a:lstStyle/>
                  <a:p>
                    <a:r>
                      <a:t>325.25</a:t>
                    </a:r>
                  </a:p>
                </c:rich>
              </c:tx>
              <c:showLegendKey val="0"/>
              <c:showVal val="1"/>
              <c:showCatName val="0"/>
              <c:showSerName val="0"/>
              <c:showPercent val="0"/>
              <c:showBubbleSize val="0"/>
            </c:dLbl>
            <c:dLbl>
              <c:idx val="3"/>
              <c:tx>
                <c:rich>
                  <a:bodyPr/>
                  <a:lstStyle/>
                  <a:p>
                    <a:r>
                      <a:t>311.89</a:t>
                    </a:r>
                  </a:p>
                </c:rich>
              </c:tx>
              <c:showLegendKey val="0"/>
              <c:showVal val="1"/>
              <c:showCatName val="0"/>
              <c:showSerName val="0"/>
              <c:showPercent val="0"/>
              <c:showBubbleSize val="0"/>
            </c:dLbl>
            <c:dLbl>
              <c:idx val="4"/>
              <c:tx>
                <c:rich>
                  <a:bodyPr/>
                  <a:lstStyle/>
                  <a:p>
                    <a:r>
                      <a:t>101.93</a:t>
                    </a:r>
                  </a:p>
                </c:rich>
              </c:tx>
              <c:showLegendKey val="0"/>
              <c:showVal val="1"/>
              <c:showCatName val="0"/>
              <c:showSerName val="0"/>
              <c:showPercent val="0"/>
              <c:showBubbleSize val="0"/>
            </c:dLbl>
            <c:dLbl>
              <c:idx val="5"/>
              <c:tx>
                <c:rich>
                  <a:bodyPr/>
                  <a:lstStyle/>
                  <a:p>
                    <a:r>
                      <a:t>303.73</a:t>
                    </a:r>
                  </a:p>
                </c:rich>
              </c:tx>
              <c:showLegendKey val="0"/>
              <c:showVal val="1"/>
              <c:showCatName val="0"/>
              <c:showSerName val="0"/>
              <c:showPercent val="0"/>
              <c:showBubbleSize val="0"/>
            </c:dLbl>
            <c:dLbl>
              <c:idx val="6"/>
              <c:tx>
                <c:rich>
                  <a:bodyPr/>
                  <a:lstStyle/>
                  <a:p>
                    <a:r>
                      <a:t>301.21</a:t>
                    </a:r>
                  </a:p>
                </c:rich>
              </c:tx>
              <c:showLegendKey val="0"/>
              <c:showVal val="1"/>
              <c:showCatName val="0"/>
              <c:showSerName val="0"/>
              <c:showPercent val="0"/>
              <c:showBubbleSize val="0"/>
            </c:dLbl>
            <c:dLbl>
              <c:idx val="7"/>
              <c:tx>
                <c:rich>
                  <a:bodyPr/>
                  <a:lstStyle/>
                  <a:p>
                    <a:r>
                      <a:t>186.86</a:t>
                    </a:r>
                  </a:p>
                </c:rich>
              </c:tx>
              <c:showLegendKey val="0"/>
              <c:showVal val="1"/>
              <c:showCatName val="0"/>
              <c:showSerName val="0"/>
              <c:showPercent val="0"/>
              <c:showBubbleSize val="0"/>
            </c:dLbl>
            <c:dLbl>
              <c:idx val="8"/>
              <c:tx>
                <c:rich>
                  <a:bodyPr/>
                  <a:lstStyle/>
                  <a:p>
                    <a:r>
                      <a:t>336.81</a:t>
                    </a:r>
                  </a:p>
                </c:rich>
              </c:tx>
              <c:showLegendKey val="0"/>
              <c:showVal val="1"/>
              <c:showCatName val="0"/>
              <c:showSerName val="0"/>
              <c:showPercent val="0"/>
              <c:showBubbleSize val="0"/>
            </c:dLbl>
            <c:dLbl>
              <c:idx val="9"/>
              <c:tx>
                <c:rich>
                  <a:bodyPr/>
                  <a:lstStyle/>
                  <a:p>
                    <a:r>
                      <a:t>297.46</a:t>
                    </a:r>
                  </a:p>
                </c:rich>
              </c:tx>
              <c:showLegendKey val="0"/>
              <c:showVal val="1"/>
              <c:showCatName val="0"/>
              <c:showSerName val="0"/>
              <c:showPercent val="0"/>
              <c:showBubbleSize val="0"/>
            </c:dLbl>
            <c:dLbl>
              <c:idx val="10"/>
              <c:tx>
                <c:rich>
                  <a:bodyPr/>
                  <a:lstStyle/>
                  <a:p>
                    <a:r>
                      <a:t>176.01</a:t>
                    </a:r>
                  </a:p>
                </c:rich>
              </c:tx>
              <c:showLegendKey val="0"/>
              <c:showVal val="1"/>
              <c:showCatName val="0"/>
              <c:showSerName val="0"/>
              <c:showPercent val="0"/>
              <c:showBubbleSize val="0"/>
            </c:dLbl>
            <c:dLbl>
              <c:idx val="11"/>
              <c:tx>
                <c:rich>
                  <a:bodyPr/>
                  <a:lstStyle/>
                  <a:p>
                    <a:r>
                      <a:t>1206.0</a:t>
                    </a:r>
                  </a:p>
                </c:rich>
              </c:tx>
              <c:showLegendKey val="0"/>
              <c:showVal val="1"/>
              <c:showCatName val="0"/>
              <c:showSerName val="0"/>
              <c:showPercent val="0"/>
              <c:showBubbleSize val="0"/>
            </c:dLbl>
            <c:dLbl>
              <c:idx val="12"/>
              <c:tx>
                <c:rich>
                  <a:bodyPr/>
                  <a:lstStyle/>
                  <a:p>
                    <a:r>
                      <a:t>683.37</a:t>
                    </a:r>
                  </a:p>
                </c:rich>
              </c:tx>
              <c:showLegendKey val="0"/>
              <c:showVal val="1"/>
              <c:showCatName val="0"/>
              <c:showSerName val="0"/>
              <c:showPercent val="0"/>
              <c:showBubbleSize val="0"/>
            </c:dLbl>
            <c:dLbl>
              <c:idx val="13"/>
              <c:tx>
                <c:rich>
                  <a:bodyPr/>
                  <a:lstStyle/>
                  <a:p>
                    <a:r>
                      <a:t>619.9</a:t>
                    </a:r>
                  </a:p>
                </c:rich>
              </c:tx>
              <c:showLegendKey val="0"/>
              <c:showVal val="1"/>
              <c:showCatName val="0"/>
              <c:showSerName val="0"/>
              <c:showPercent val="0"/>
              <c:showBubbleSize val="0"/>
            </c:dLbl>
            <c:dLbl>
              <c:idx val="14"/>
              <c:tx>
                <c:rich>
                  <a:bodyPr/>
                  <a:lstStyle/>
                  <a:p>
                    <a:r>
                      <a:t>287.88</a:t>
                    </a:r>
                  </a:p>
                </c:rich>
              </c:tx>
              <c:showLegendKey val="0"/>
              <c:showVal val="1"/>
              <c:showCatName val="0"/>
              <c:showSerName val="0"/>
              <c:showPercent val="0"/>
              <c:showBubbleSize val="0"/>
            </c:dLbl>
            <c:dLbl>
              <c:idx val="15"/>
              <c:tx>
                <c:rich>
                  <a:bodyPr/>
                  <a:lstStyle/>
                  <a:p>
                    <a:r>
                      <a:t>593.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Hawaiian Tropic Ozono Sunscreen Adults Cosmetics Liquido 50+ 240Ml</c:v>
                </c:pt>
                <c:pt idx="1">
                  <c:v>Edgewell Hawaiian Tropic Island Sport Sunscreen Adults Sport Liquido 50 240Ml</c:v>
                </c:pt>
                <c:pt idx="2">
                  <c:v>Edgewell Hawaiian Tropic Island Sport Sunscreen Adults Sport Spray Liquido 50 220Ml</c:v>
                </c:pt>
                <c:pt idx="3">
                  <c:v>Edgewell Hawaiian Tropic Ozono Sunscreen Adults Cosmetics Spray Liquido 50+ 180Ml</c:v>
                </c:pt>
                <c:pt idx="4">
                  <c:v>Edgewell Hawaiian Tropic Ozono Sunscreen Adults Cosmetics Liquido 50+ 90Ml</c:v>
                </c:pt>
                <c:pt idx="5">
                  <c:v>L'Oreal Loreal Paris Sunscreen Adults Derma Liquido 50+ 40Ml</c:v>
                </c:pt>
                <c:pt idx="6">
                  <c:v>Beiersdorf Nivea Sunscreen Adults Cosmetics Liquido 50 200Ml</c:v>
                </c:pt>
                <c:pt idx="7">
                  <c:v>Beiersdorf Nivea Sunscreen Adults Cosmetics Liquido 50+ 125Ml</c:v>
                </c:pt>
                <c:pt idx="8">
                  <c:v>Beiersdorf Nivea Sunscreen Adults Cosmetics Spray Liquido 50 200Ml</c:v>
                </c:pt>
                <c:pt idx="9">
                  <c:v>Beiersdorf Nivea Sunscreen Kids Cosmetics Liquido 50+ 200Ml</c:v>
                </c:pt>
                <c:pt idx="10">
                  <c:v>Beiersdorf Nivea Sunscreen Kids Cosmetics Liquido 50+ 125Ml</c:v>
                </c:pt>
                <c:pt idx="11">
                  <c:v>Others Fabricante Unif. Others Marca Unif. Sunscreen Adults Cosmetics Liquido 30 - 49 50Ml</c:v>
                </c:pt>
                <c:pt idx="12">
                  <c:v>Others Fabricante Unif. Others Marca Unif. Sunscreen Adults Derma Spray Liquido 50+ 120Ml</c:v>
                </c:pt>
                <c:pt idx="13">
                  <c:v>Others Fabricante Unif. Others Marca Unif. Sunscreen Adults Derma Liquido 50+ 50Ml</c:v>
                </c:pt>
                <c:pt idx="14">
                  <c:v>Others Fabricante Unif. Others Marca Unif. Sunscreen Adults Cosmetics Spray Liquido 50 200Ml</c:v>
                </c:pt>
                <c:pt idx="15">
                  <c:v>Others Fabricante Unif. Others Marca Unif. Sunscreen Adults Derma Spray Liquido 50+ 200Ml</c:v>
                </c:pt>
              </c:strCache>
            </c:strRef>
          </c:cat>
          <c:val>
            <c:numRef>
              <c:f>Sheet1!$B$2:$B$17</c:f>
              <c:numCache>
                <c:formatCode>General</c:formatCode>
                <c:ptCount val="16"/>
                <c:pt idx="0">
                  <c:v>301.59</c:v>
                </c:pt>
                <c:pt idx="1">
                  <c:v>305.15</c:v>
                </c:pt>
                <c:pt idx="2">
                  <c:v>325.25</c:v>
                </c:pt>
                <c:pt idx="3">
                  <c:v>311.89</c:v>
                </c:pt>
                <c:pt idx="4">
                  <c:v>101.93</c:v>
                </c:pt>
                <c:pt idx="5">
                  <c:v>303.73</c:v>
                </c:pt>
                <c:pt idx="6">
                  <c:v>301.21</c:v>
                </c:pt>
                <c:pt idx="7">
                  <c:v>186.86</c:v>
                </c:pt>
                <c:pt idx="8">
                  <c:v>336.81</c:v>
                </c:pt>
                <c:pt idx="9">
                  <c:v>297.46</c:v>
                </c:pt>
                <c:pt idx="10">
                  <c:v>176.01</c:v>
                </c:pt>
                <c:pt idx="11">
                  <c:v>1206.0</c:v>
                </c:pt>
                <c:pt idx="12">
                  <c:v>683.37</c:v>
                </c:pt>
                <c:pt idx="13">
                  <c:v>619.9</c:v>
                </c:pt>
                <c:pt idx="14">
                  <c:v>287.88</c:v>
                </c:pt>
                <c:pt idx="15">
                  <c:v>59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86</a:t>
                    </a:r>
                  </a:p>
                </c:rich>
              </c:tx>
              <c:showLegendKey val="0"/>
              <c:showVal val="1"/>
              <c:showCatName val="0"/>
              <c:showSerName val="0"/>
              <c:showPercent val="0"/>
              <c:showBubbleSize val="0"/>
            </c:dLbl>
            <c:dLbl>
              <c:idx val="1"/>
              <c:tx>
                <c:rich>
                  <a:bodyPr/>
                  <a:lstStyle/>
                  <a:p>
                    <a:r>
                      <a:t>307.23</a:t>
                    </a:r>
                  </a:p>
                </c:rich>
              </c:tx>
              <c:showLegendKey val="0"/>
              <c:showVal val="1"/>
              <c:showCatName val="0"/>
              <c:showSerName val="0"/>
              <c:showPercent val="0"/>
              <c:showBubbleSize val="0"/>
            </c:dLbl>
            <c:dLbl>
              <c:idx val="2"/>
              <c:tx>
                <c:rich>
                  <a:bodyPr/>
                  <a:lstStyle/>
                  <a:p>
                    <a:r>
                      <a:t>312.26</a:t>
                    </a:r>
                  </a:p>
                </c:rich>
              </c:tx>
              <c:showLegendKey val="0"/>
              <c:showVal val="1"/>
              <c:showCatName val="0"/>
              <c:showSerName val="0"/>
              <c:showPercent val="0"/>
              <c:showBubbleSize val="0"/>
            </c:dLbl>
            <c:dLbl>
              <c:idx val="3"/>
              <c:tx>
                <c:rich>
                  <a:bodyPr/>
                  <a:lstStyle/>
                  <a:p>
                    <a:r>
                      <a:t>85.3</a:t>
                    </a:r>
                  </a:p>
                </c:rich>
              </c:tx>
              <c:showLegendKey val="0"/>
              <c:showVal val="1"/>
              <c:showCatName val="0"/>
              <c:showSerName val="0"/>
              <c:showPercent val="0"/>
              <c:showBubbleSize val="0"/>
            </c:dLbl>
            <c:dLbl>
              <c:idx val="4"/>
              <c:tx>
                <c:rich>
                  <a:bodyPr/>
                  <a:lstStyle/>
                  <a:p>
                    <a:r>
                      <a:t>246.19</a:t>
                    </a:r>
                  </a:p>
                </c:rich>
              </c:tx>
              <c:showLegendKey val="0"/>
              <c:showVal val="1"/>
              <c:showCatName val="0"/>
              <c:showSerName val="0"/>
              <c:showPercent val="0"/>
              <c:showBubbleSize val="0"/>
            </c:dLbl>
            <c:dLbl>
              <c:idx val="5"/>
              <c:tx>
                <c:rich>
                  <a:bodyPr/>
                  <a:lstStyle/>
                  <a:p>
                    <a:r>
                      <a:t>303.73</a:t>
                    </a:r>
                  </a:p>
                </c:rich>
              </c:tx>
              <c:showLegendKey val="0"/>
              <c:showVal val="1"/>
              <c:showCatName val="0"/>
              <c:showSerName val="0"/>
              <c:showPercent val="0"/>
              <c:showBubbleSize val="0"/>
            </c:dLbl>
            <c:dLbl>
              <c:idx val="6"/>
              <c:tx>
                <c:rich>
                  <a:bodyPr/>
                  <a:lstStyle/>
                  <a:p>
                    <a:r>
                      <a:t>301.21</a:t>
                    </a:r>
                  </a:p>
                </c:rich>
              </c:tx>
              <c:showLegendKey val="0"/>
              <c:showVal val="1"/>
              <c:showCatName val="0"/>
              <c:showSerName val="0"/>
              <c:showPercent val="0"/>
              <c:showBubbleSize val="0"/>
            </c:dLbl>
            <c:dLbl>
              <c:idx val="7"/>
              <c:tx>
                <c:rich>
                  <a:bodyPr/>
                  <a:lstStyle/>
                  <a:p>
                    <a:r>
                      <a:t>186.86</a:t>
                    </a:r>
                  </a:p>
                </c:rich>
              </c:tx>
              <c:showLegendKey val="0"/>
              <c:showVal val="1"/>
              <c:showCatName val="0"/>
              <c:showSerName val="0"/>
              <c:showPercent val="0"/>
              <c:showBubbleSize val="0"/>
            </c:dLbl>
            <c:dLbl>
              <c:idx val="8"/>
              <c:tx>
                <c:rich>
                  <a:bodyPr/>
                  <a:lstStyle/>
                  <a:p>
                    <a:r>
                      <a:t>336.81</a:t>
                    </a:r>
                  </a:p>
                </c:rich>
              </c:tx>
              <c:showLegendKey val="0"/>
              <c:showVal val="1"/>
              <c:showCatName val="0"/>
              <c:showSerName val="0"/>
              <c:showPercent val="0"/>
              <c:showBubbleSize val="0"/>
            </c:dLbl>
            <c:dLbl>
              <c:idx val="9"/>
              <c:tx>
                <c:rich>
                  <a:bodyPr/>
                  <a:lstStyle/>
                  <a:p>
                    <a:r>
                      <a:t>297.46</a:t>
                    </a:r>
                  </a:p>
                </c:rich>
              </c:tx>
              <c:showLegendKey val="0"/>
              <c:showVal val="1"/>
              <c:showCatName val="0"/>
              <c:showSerName val="0"/>
              <c:showPercent val="0"/>
              <c:showBubbleSize val="0"/>
            </c:dLbl>
            <c:dLbl>
              <c:idx val="10"/>
              <c:tx>
                <c:rich>
                  <a:bodyPr/>
                  <a:lstStyle/>
                  <a:p>
                    <a:r>
                      <a:t>176.01</a:t>
                    </a:r>
                  </a:p>
                </c:rich>
              </c:tx>
              <c:showLegendKey val="0"/>
              <c:showVal val="1"/>
              <c:showCatName val="0"/>
              <c:showSerName val="0"/>
              <c:showPercent val="0"/>
              <c:showBubbleSize val="0"/>
            </c:dLbl>
            <c:dLbl>
              <c:idx val="11"/>
              <c:tx>
                <c:rich>
                  <a:bodyPr/>
                  <a:lstStyle/>
                  <a:p>
                    <a:r>
                      <a:t>1206.0</a:t>
                    </a:r>
                  </a:p>
                </c:rich>
              </c:tx>
              <c:showLegendKey val="0"/>
              <c:showVal val="1"/>
              <c:showCatName val="0"/>
              <c:showSerName val="0"/>
              <c:showPercent val="0"/>
              <c:showBubbleSize val="0"/>
            </c:dLbl>
            <c:dLbl>
              <c:idx val="12"/>
              <c:tx>
                <c:rich>
                  <a:bodyPr/>
                  <a:lstStyle/>
                  <a:p>
                    <a:r>
                      <a:t>683.37</a:t>
                    </a:r>
                  </a:p>
                </c:rich>
              </c:tx>
              <c:showLegendKey val="0"/>
              <c:showVal val="1"/>
              <c:showCatName val="0"/>
              <c:showSerName val="0"/>
              <c:showPercent val="0"/>
              <c:showBubbleSize val="0"/>
            </c:dLbl>
            <c:dLbl>
              <c:idx val="13"/>
              <c:tx>
                <c:rich>
                  <a:bodyPr/>
                  <a:lstStyle/>
                  <a:p>
                    <a:r>
                      <a:t>619.9</a:t>
                    </a:r>
                  </a:p>
                </c:rich>
              </c:tx>
              <c:showLegendKey val="0"/>
              <c:showVal val="1"/>
              <c:showCatName val="0"/>
              <c:showSerName val="0"/>
              <c:showPercent val="0"/>
              <c:showBubbleSize val="0"/>
            </c:dLbl>
            <c:dLbl>
              <c:idx val="14"/>
              <c:tx>
                <c:rich>
                  <a:bodyPr/>
                  <a:lstStyle/>
                  <a:p>
                    <a:r>
                      <a:t>287.88</a:t>
                    </a:r>
                  </a:p>
                </c:rich>
              </c:tx>
              <c:showLegendKey val="0"/>
              <c:showVal val="1"/>
              <c:showCatName val="0"/>
              <c:showSerName val="0"/>
              <c:showPercent val="0"/>
              <c:showBubbleSize val="0"/>
            </c:dLbl>
            <c:dLbl>
              <c:idx val="15"/>
              <c:tx>
                <c:rich>
                  <a:bodyPr/>
                  <a:lstStyle/>
                  <a:p>
                    <a:r>
                      <a:t>593.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Dry Balance Sunscreen Adults Sport Spray Liquido 50 220Ml</c:v>
                </c:pt>
                <c:pt idx="1">
                  <c:v>Edgewell Banana Boat Advanced Protection Sunscreen Adults Cosmetics Liquido 50+ 240Ml</c:v>
                </c:pt>
                <c:pt idx="2">
                  <c:v>Edgewell Banana Boat Aqua Protect Sunscreen Adults Cosmetics Spray Liquido 50+ 170Ml</c:v>
                </c:pt>
                <c:pt idx="3">
                  <c:v>Edgewell Banana Boat Advanced Protection Sunscreen Adults Cosmetics Liquido 50+ 60Ml</c:v>
                </c:pt>
                <c:pt idx="4">
                  <c:v>Edgewell Banana Boat Advanced Protection Sunscreen Adults Cosmetics Liquido 50 180Ml</c:v>
                </c:pt>
                <c:pt idx="5">
                  <c:v>L'Oreal Loreal Paris Sunscreen Adults Derma Liquido 50+ 40Ml</c:v>
                </c:pt>
                <c:pt idx="6">
                  <c:v>Beiersdorf Nivea Sunscreen Adults Cosmetics Liquido 50 200Ml</c:v>
                </c:pt>
                <c:pt idx="7">
                  <c:v>Beiersdorf Nivea Sunscreen Adults Cosmetics Liquido 50+ 125Ml</c:v>
                </c:pt>
                <c:pt idx="8">
                  <c:v>Beiersdorf Nivea Sunscreen Adults Cosmetics Spray Liquido 50 200Ml</c:v>
                </c:pt>
                <c:pt idx="9">
                  <c:v>Beiersdorf Nivea Sunscreen Kids Cosmetics Liquido 50+ 200Ml</c:v>
                </c:pt>
                <c:pt idx="10">
                  <c:v>Beiersdorf Nivea Sunscreen Kids Cosmetics Liquido 50+ 125Ml</c:v>
                </c:pt>
                <c:pt idx="11">
                  <c:v>Others Fabricante Unif. Others Marca Unif. Sunscreen Adults Cosmetics Liquido 30 - 49 50Ml</c:v>
                </c:pt>
                <c:pt idx="12">
                  <c:v>Others Fabricante Unif. Others Marca Unif. Sunscreen Adults Derma Spray Liquido 50+ 120Ml</c:v>
                </c:pt>
                <c:pt idx="13">
                  <c:v>Others Fabricante Unif. Others Marca Unif. Sunscreen Adults Derma Liquido 50+ 50Ml</c:v>
                </c:pt>
                <c:pt idx="14">
                  <c:v>Others Fabricante Unif. Others Marca Unif. Sunscreen Adults Cosmetics Spray Liquido 50 200Ml</c:v>
                </c:pt>
                <c:pt idx="15">
                  <c:v>Others Fabricante Unif. Others Marca Unif. Sunscreen Adults Derma Spray Liquido 50+ 200Ml</c:v>
                </c:pt>
              </c:strCache>
            </c:strRef>
          </c:cat>
          <c:val>
            <c:numRef>
              <c:f>Sheet1!$B$2:$B$17</c:f>
              <c:numCache>
                <c:formatCode>General</c:formatCode>
                <c:ptCount val="16"/>
                <c:pt idx="0">
                  <c:v>302.86</c:v>
                </c:pt>
                <c:pt idx="1">
                  <c:v>307.23</c:v>
                </c:pt>
                <c:pt idx="2">
                  <c:v>312.26</c:v>
                </c:pt>
                <c:pt idx="3">
                  <c:v>85.3</c:v>
                </c:pt>
                <c:pt idx="4">
                  <c:v>246.19</c:v>
                </c:pt>
                <c:pt idx="5">
                  <c:v>303.73</c:v>
                </c:pt>
                <c:pt idx="6">
                  <c:v>301.21</c:v>
                </c:pt>
                <c:pt idx="7">
                  <c:v>186.86</c:v>
                </c:pt>
                <c:pt idx="8">
                  <c:v>336.81</c:v>
                </c:pt>
                <c:pt idx="9">
                  <c:v>297.46</c:v>
                </c:pt>
                <c:pt idx="10">
                  <c:v>176.01</c:v>
                </c:pt>
                <c:pt idx="11">
                  <c:v>1206.0</c:v>
                </c:pt>
                <c:pt idx="12">
                  <c:v>683.37</c:v>
                </c:pt>
                <c:pt idx="13">
                  <c:v>619.9</c:v>
                </c:pt>
                <c:pt idx="14">
                  <c:v>287.88</c:v>
                </c:pt>
                <c:pt idx="15">
                  <c:v>59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showLegendKey val="0"/>
              <c:showVal val="1"/>
              <c:showCatName val="0"/>
              <c:showSerName val="0"/>
              <c:showPercent val="0"/>
              <c:showBubbleSize val="0"/>
            </c:dLbl>
            <c:dLbl>
              <c:idx val="1"/>
              <c:tx>
                <c:rich>
                  <a:bodyPr/>
                  <a:lstStyle/>
                  <a:p>
                    <a:r>
                      <a:t>280.19</a:t>
                    </a:r>
                  </a:p>
                </c:rich>
              </c:tx>
              <c:showLegendKey val="0"/>
              <c:showVal val="1"/>
              <c:showCatName val="0"/>
              <c:showSerName val="0"/>
              <c:showPercent val="0"/>
              <c:showBubbleSize val="0"/>
            </c:dLbl>
            <c:dLbl>
              <c:idx val="2"/>
              <c:tx>
                <c:rich>
                  <a:bodyPr/>
                  <a:lstStyle/>
                  <a:p>
                    <a:r>
                      <a:t>230.57</a:t>
                    </a:r>
                  </a:p>
                </c:rich>
              </c:tx>
              <c:showLegendKey val="0"/>
              <c:showVal val="1"/>
              <c:showCatName val="0"/>
              <c:showSerName val="0"/>
              <c:showPercent val="0"/>
              <c:showBubbleSize val="0"/>
            </c:dLbl>
            <c:dLbl>
              <c:idx val="3"/>
              <c:tx>
                <c:rich>
                  <a:bodyPr/>
                  <a:lstStyle/>
                  <a:p>
                    <a:r>
                      <a:t>238.78</a:t>
                    </a:r>
                  </a:p>
                </c:rich>
              </c:tx>
              <c:showLegendKey val="0"/>
              <c:showVal val="1"/>
              <c:showCatName val="0"/>
              <c:showSerName val="0"/>
              <c:showPercent val="0"/>
              <c:showBubbleSize val="0"/>
            </c:dLbl>
            <c:dLbl>
              <c:idx val="4"/>
              <c:tx>
                <c:rich>
                  <a:bodyPr/>
                  <a:lstStyle/>
                  <a:p>
                    <a:r>
                      <a:t>406.0</a:t>
                    </a:r>
                  </a:p>
                </c:rich>
              </c:tx>
              <c:showLegendKey val="0"/>
              <c:showVal val="1"/>
              <c:showCatName val="0"/>
              <c:showSerName val="0"/>
              <c:showPercent val="0"/>
              <c:showBubbleSize val="0"/>
            </c:dLbl>
            <c:dLbl>
              <c:idx val="5"/>
              <c:tx>
                <c:rich>
                  <a:bodyPr/>
                  <a:lstStyle/>
                  <a:p>
                    <a:r>
                      <a:t>303.73</a:t>
                    </a:r>
                  </a:p>
                </c:rich>
              </c:tx>
              <c:showLegendKey val="0"/>
              <c:showVal val="1"/>
              <c:showCatName val="0"/>
              <c:showSerName val="0"/>
              <c:showPercent val="0"/>
              <c:showBubbleSize val="0"/>
            </c:dLbl>
            <c:dLbl>
              <c:idx val="6"/>
              <c:tx>
                <c:rich>
                  <a:bodyPr/>
                  <a:lstStyle/>
                  <a:p>
                    <a:r>
                      <a:t>301.21</a:t>
                    </a:r>
                  </a:p>
                </c:rich>
              </c:tx>
              <c:showLegendKey val="0"/>
              <c:showVal val="1"/>
              <c:showCatName val="0"/>
              <c:showSerName val="0"/>
              <c:showPercent val="0"/>
              <c:showBubbleSize val="0"/>
            </c:dLbl>
            <c:dLbl>
              <c:idx val="7"/>
              <c:tx>
                <c:rich>
                  <a:bodyPr/>
                  <a:lstStyle/>
                  <a:p>
                    <a:r>
                      <a:t>186.86</a:t>
                    </a:r>
                  </a:p>
                </c:rich>
              </c:tx>
              <c:showLegendKey val="0"/>
              <c:showVal val="1"/>
              <c:showCatName val="0"/>
              <c:showSerName val="0"/>
              <c:showPercent val="0"/>
              <c:showBubbleSize val="0"/>
            </c:dLbl>
            <c:dLbl>
              <c:idx val="8"/>
              <c:tx>
                <c:rich>
                  <a:bodyPr/>
                  <a:lstStyle/>
                  <a:p>
                    <a:r>
                      <a:t>336.81</a:t>
                    </a:r>
                  </a:p>
                </c:rich>
              </c:tx>
              <c:showLegendKey val="0"/>
              <c:showVal val="1"/>
              <c:showCatName val="0"/>
              <c:showSerName val="0"/>
              <c:showPercent val="0"/>
              <c:showBubbleSize val="0"/>
            </c:dLbl>
            <c:dLbl>
              <c:idx val="9"/>
              <c:tx>
                <c:rich>
                  <a:bodyPr/>
                  <a:lstStyle/>
                  <a:p>
                    <a:r>
                      <a:t>297.46</a:t>
                    </a:r>
                  </a:p>
                </c:rich>
              </c:tx>
              <c:showLegendKey val="0"/>
              <c:showVal val="1"/>
              <c:showCatName val="0"/>
              <c:showSerName val="0"/>
              <c:showPercent val="0"/>
              <c:showBubbleSize val="0"/>
            </c:dLbl>
            <c:dLbl>
              <c:idx val="10"/>
              <c:tx>
                <c:rich>
                  <a:bodyPr/>
                  <a:lstStyle/>
                  <a:p>
                    <a:r>
                      <a:t>176.01</a:t>
                    </a:r>
                  </a:p>
                </c:rich>
              </c:tx>
              <c:showLegendKey val="0"/>
              <c:showVal val="1"/>
              <c:showCatName val="0"/>
              <c:showSerName val="0"/>
              <c:showPercent val="0"/>
              <c:showBubbleSize val="0"/>
            </c:dLbl>
            <c:dLbl>
              <c:idx val="11"/>
              <c:tx>
                <c:rich>
                  <a:bodyPr/>
                  <a:lstStyle/>
                  <a:p>
                    <a:r>
                      <a:t>1206.0</a:t>
                    </a:r>
                  </a:p>
                </c:rich>
              </c:tx>
              <c:showLegendKey val="0"/>
              <c:showVal val="1"/>
              <c:showCatName val="0"/>
              <c:showSerName val="0"/>
              <c:showPercent val="0"/>
              <c:showBubbleSize val="0"/>
            </c:dLbl>
            <c:dLbl>
              <c:idx val="12"/>
              <c:tx>
                <c:rich>
                  <a:bodyPr/>
                  <a:lstStyle/>
                  <a:p>
                    <a:r>
                      <a:t>683.37</a:t>
                    </a:r>
                  </a:p>
                </c:rich>
              </c:tx>
              <c:showLegendKey val="0"/>
              <c:showVal val="1"/>
              <c:showCatName val="0"/>
              <c:showSerName val="0"/>
              <c:showPercent val="0"/>
              <c:showBubbleSize val="0"/>
            </c:dLbl>
            <c:dLbl>
              <c:idx val="13"/>
              <c:tx>
                <c:rich>
                  <a:bodyPr/>
                  <a:lstStyle/>
                  <a:p>
                    <a:r>
                      <a:t>619.9</a:t>
                    </a:r>
                  </a:p>
                </c:rich>
              </c:tx>
              <c:showLegendKey val="0"/>
              <c:showVal val="1"/>
              <c:showCatName val="0"/>
              <c:showSerName val="0"/>
              <c:showPercent val="0"/>
              <c:showBubbleSize val="0"/>
            </c:dLbl>
            <c:dLbl>
              <c:idx val="14"/>
              <c:tx>
                <c:rich>
                  <a:bodyPr/>
                  <a:lstStyle/>
                  <a:p>
                    <a:r>
                      <a:t>287.88</a:t>
                    </a:r>
                  </a:p>
                </c:rich>
              </c:tx>
              <c:showLegendKey val="0"/>
              <c:showVal val="1"/>
              <c:showCatName val="0"/>
              <c:showSerName val="0"/>
              <c:showPercent val="0"/>
              <c:showBubbleSize val="0"/>
            </c:dLbl>
            <c:dLbl>
              <c:idx val="15"/>
              <c:tx>
                <c:rich>
                  <a:bodyPr/>
                  <a:lstStyle/>
                  <a:p>
                    <a:r>
                      <a:t>593.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L'Oreal Loreal Paris Sunscreen Adults Derma Liquido 50+ 40Ml</c:v>
                </c:pt>
                <c:pt idx="6">
                  <c:v>Beiersdorf Nivea Sunscreen Adults Cosmetics Liquido 50 200Ml</c:v>
                </c:pt>
                <c:pt idx="7">
                  <c:v>Beiersdorf Nivea Sunscreen Adults Cosmetics Liquido 50+ 125Ml</c:v>
                </c:pt>
                <c:pt idx="8">
                  <c:v>Beiersdorf Nivea Sunscreen Adults Cosmetics Spray Liquido 50 200Ml</c:v>
                </c:pt>
                <c:pt idx="9">
                  <c:v>Beiersdorf Nivea Sunscreen Kids Cosmetics Liquido 50+ 200Ml</c:v>
                </c:pt>
                <c:pt idx="10">
                  <c:v>Beiersdorf Nivea Sunscreen Kids Cosmetics Liquido 50+ 125Ml</c:v>
                </c:pt>
                <c:pt idx="11">
                  <c:v>Others Fabricante Unif. Others Marca Unif. Sunscreen Adults Cosmetics Liquido 30 - 49 50Ml</c:v>
                </c:pt>
                <c:pt idx="12">
                  <c:v>Others Fabricante Unif. Others Marca Unif. Sunscreen Adults Derma Spray Liquido 50+ 120Ml</c:v>
                </c:pt>
                <c:pt idx="13">
                  <c:v>Others Fabricante Unif. Others Marca Unif. Sunscreen Adults Derma Liquido 50+ 50Ml</c:v>
                </c:pt>
                <c:pt idx="14">
                  <c:v>Others Fabricante Unif. Others Marca Unif. Sunscreen Adults Cosmetics Spray Liquido 50 200Ml</c:v>
                </c:pt>
                <c:pt idx="15">
                  <c:v>Others Fabricante Unif. Others Marca Unif. Sunscreen Adults Derma Spray Liquido 50+ 200Ml</c:v>
                </c:pt>
              </c:strCache>
            </c:strRef>
          </c:cat>
          <c:val>
            <c:numRef>
              <c:f>Sheet1!$B$2:$B$17</c:f>
              <c:numCache>
                <c:formatCode>General</c:formatCode>
                <c:ptCount val="16"/>
                <c:pt idx="0">
                  <c:v>242.81</c:v>
                </c:pt>
                <c:pt idx="1">
                  <c:v>280.19</c:v>
                </c:pt>
                <c:pt idx="2">
                  <c:v>230.57</c:v>
                </c:pt>
                <c:pt idx="3">
                  <c:v>238.78</c:v>
                </c:pt>
                <c:pt idx="4">
                  <c:v>406.0</c:v>
                </c:pt>
                <c:pt idx="5">
                  <c:v>303.73</c:v>
                </c:pt>
                <c:pt idx="6">
                  <c:v>301.21</c:v>
                </c:pt>
                <c:pt idx="7">
                  <c:v>186.86</c:v>
                </c:pt>
                <c:pt idx="8">
                  <c:v>336.81</c:v>
                </c:pt>
                <c:pt idx="9">
                  <c:v>297.46</c:v>
                </c:pt>
                <c:pt idx="10">
                  <c:v>176.01</c:v>
                </c:pt>
                <c:pt idx="11">
                  <c:v>1206.0</c:v>
                </c:pt>
                <c:pt idx="12">
                  <c:v>683.37</c:v>
                </c:pt>
                <c:pt idx="13">
                  <c:v>619.9</c:v>
                </c:pt>
                <c:pt idx="14">
                  <c:v>287.88</c:v>
                </c:pt>
                <c:pt idx="15">
                  <c:v>59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6.36</a:t>
                    </a:r>
                  </a:p>
                </c:rich>
              </c:tx>
              <c:showLegendKey val="0"/>
              <c:showVal val="1"/>
              <c:showCatName val="0"/>
              <c:showSerName val="0"/>
              <c:showPercent val="0"/>
              <c:showBubbleSize val="0"/>
            </c:dLbl>
            <c:dLbl>
              <c:idx val="1"/>
              <c:tx>
                <c:rich>
                  <a:bodyPr/>
                  <a:lstStyle/>
                  <a:p>
                    <a:r>
                      <a:t>258.77</a:t>
                    </a:r>
                  </a:p>
                </c:rich>
              </c:tx>
              <c:showLegendKey val="0"/>
              <c:showVal val="1"/>
              <c:showCatName val="0"/>
              <c:showSerName val="0"/>
              <c:showPercent val="0"/>
              <c:showBubbleSize val="0"/>
            </c:dLbl>
            <c:dLbl>
              <c:idx val="2"/>
              <c:tx>
                <c:rich>
                  <a:bodyPr/>
                  <a:lstStyle/>
                  <a:p>
                    <a:r>
                      <a:t>331.57</a:t>
                    </a:r>
                  </a:p>
                </c:rich>
              </c:tx>
              <c:showLegendKey val="0"/>
              <c:showVal val="1"/>
              <c:showCatName val="0"/>
              <c:showSerName val="0"/>
              <c:showPercent val="0"/>
              <c:showBubbleSize val="0"/>
            </c:dLbl>
            <c:dLbl>
              <c:idx val="3"/>
              <c:tx>
                <c:rich>
                  <a:bodyPr/>
                  <a:lstStyle/>
                  <a:p>
                    <a:r>
                      <a:t>324.2</a:t>
                    </a:r>
                  </a:p>
                </c:rich>
              </c:tx>
              <c:showLegendKey val="0"/>
              <c:showVal val="1"/>
              <c:showCatName val="0"/>
              <c:showSerName val="0"/>
              <c:showPercent val="0"/>
              <c:showBubbleSize val="0"/>
            </c:dLbl>
            <c:dLbl>
              <c:idx val="4"/>
              <c:tx>
                <c:rich>
                  <a:bodyPr/>
                  <a:lstStyle/>
                  <a:p>
                    <a:r>
                      <a:t>334.39</a:t>
                    </a:r>
                  </a:p>
                </c:rich>
              </c:tx>
              <c:showLegendKey val="0"/>
              <c:showVal val="1"/>
              <c:showCatName val="0"/>
              <c:showSerName val="0"/>
              <c:showPercent val="0"/>
              <c:showBubbleSize val="0"/>
            </c:dLbl>
            <c:dLbl>
              <c:idx val="5"/>
              <c:tx>
                <c:rich>
                  <a:bodyPr/>
                  <a:lstStyle/>
                  <a:p>
                    <a:r>
                      <a:t>296.43</a:t>
                    </a:r>
                  </a:p>
                </c:rich>
              </c:tx>
              <c:showLegendKey val="0"/>
              <c:showVal val="1"/>
              <c:showCatName val="0"/>
              <c:showSerName val="0"/>
              <c:showPercent val="0"/>
              <c:showBubbleSize val="0"/>
            </c:dLbl>
            <c:dLbl>
              <c:idx val="6"/>
              <c:tx>
                <c:rich>
                  <a:bodyPr/>
                  <a:lstStyle/>
                  <a:p>
                    <a:r>
                      <a:t>299.19</a:t>
                    </a:r>
                  </a:p>
                </c:rich>
              </c:tx>
              <c:showLegendKey val="0"/>
              <c:showVal val="1"/>
              <c:showCatName val="0"/>
              <c:showSerName val="0"/>
              <c:showPercent val="0"/>
              <c:showBubbleSize val="0"/>
            </c:dLbl>
            <c:dLbl>
              <c:idx val="7"/>
              <c:tx>
                <c:rich>
                  <a:bodyPr/>
                  <a:lstStyle/>
                  <a:p>
                    <a:r>
                      <a:t>771.17</a:t>
                    </a:r>
                  </a:p>
                </c:rich>
              </c:tx>
              <c:showLegendKey val="0"/>
              <c:showVal val="1"/>
              <c:showCatName val="0"/>
              <c:showSerName val="0"/>
              <c:showPercent val="0"/>
              <c:showBubbleSize val="0"/>
            </c:dLbl>
            <c:dLbl>
              <c:idx val="8"/>
              <c:tx>
                <c:rich>
                  <a:bodyPr/>
                  <a:lstStyle/>
                  <a:p>
                    <a:r>
                      <a:t>655.6</a:t>
                    </a:r>
                  </a:p>
                </c:rich>
              </c:tx>
              <c:showLegendKey val="0"/>
              <c:showVal val="1"/>
              <c:showCatName val="0"/>
              <c:showSerName val="0"/>
              <c:showPercent val="0"/>
              <c:showBubbleSize val="0"/>
            </c:dLbl>
            <c:dLbl>
              <c:idx val="9"/>
              <c:tx>
                <c:rich>
                  <a:bodyPr/>
                  <a:lstStyle/>
                  <a:p>
                    <a:r>
                      <a:t>600.21</a:t>
                    </a:r>
                  </a:p>
                </c:rich>
              </c:tx>
              <c:showLegendKey val="0"/>
              <c:showVal val="1"/>
              <c:showCatName val="0"/>
              <c:showSerName val="0"/>
              <c:showPercent val="0"/>
              <c:showBubbleSize val="0"/>
            </c:dLbl>
            <c:dLbl>
              <c:idx val="10"/>
              <c:tx>
                <c:rich>
                  <a:bodyPr/>
                  <a:lstStyle/>
                  <a:p>
                    <a:r>
                      <a:t>288.31</a:t>
                    </a:r>
                  </a:p>
                </c:rich>
              </c:tx>
              <c:showLegendKey val="0"/>
              <c:showVal val="1"/>
              <c:showCatName val="0"/>
              <c:showSerName val="0"/>
              <c:showPercent val="0"/>
              <c:showBubbleSize val="0"/>
            </c:dLbl>
            <c:dLbl>
              <c:idx val="11"/>
              <c:tx>
                <c:rich>
                  <a:bodyPr/>
                  <a:lstStyle/>
                  <a:p>
                    <a:r>
                      <a:t>49.31</a:t>
                    </a:r>
                  </a:p>
                </c:rich>
              </c:tx>
              <c:showLegendKey val="0"/>
              <c:showVal val="1"/>
              <c:showCatName val="0"/>
              <c:showSerName val="0"/>
              <c:showPercent val="0"/>
              <c:showBubbleSize val="0"/>
            </c:dLbl>
            <c:dLbl>
              <c:idx val="12"/>
              <c:tx>
                <c:rich>
                  <a:bodyPr/>
                  <a:lstStyle/>
                  <a:p>
                    <a:r>
                      <a:t>204.11</a:t>
                    </a:r>
                  </a:p>
                </c:rich>
              </c:tx>
              <c:showLegendKey val="0"/>
              <c:showVal val="1"/>
              <c:showCatName val="0"/>
              <c:showSerName val="0"/>
              <c:showPercent val="0"/>
              <c:showBubbleSize val="0"/>
            </c:dLbl>
            <c:dLbl>
              <c:idx val="13"/>
              <c:tx>
                <c:rich>
                  <a:bodyPr/>
                  <a:lstStyle/>
                  <a:p>
                    <a:r>
                      <a:t>367.0</a:t>
                    </a:r>
                  </a:p>
                </c:rich>
              </c:tx>
              <c:showLegendKey val="0"/>
              <c:showVal val="1"/>
              <c:showCatName val="0"/>
              <c:showSerName val="0"/>
              <c:showPercent val="0"/>
              <c:showBubbleSize val="0"/>
            </c:dLbl>
            <c:dLbl>
              <c:idx val="14"/>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170Ml</c:v>
                </c:pt>
                <c:pt idx="1">
                  <c:v>Edgewell Banana Boat Banded Pack Banded Pack 2X Sunscreen Multi 50+ 236Ml</c:v>
                </c:pt>
                <c:pt idx="2">
                  <c:v>Edgewell Banana Boat Mineral Sunscreen Kids Cosmetics Locion 50 180Ml</c:v>
                </c:pt>
                <c:pt idx="3">
                  <c:v>Edgewell Banana Boat Mineral Sunscreen Adults Cosmetics Locion 50 180Ml</c:v>
                </c:pt>
                <c:pt idx="4">
                  <c:v>Edgewell Banana Boat Mineral Sunscreen Adults Sport Locion 50 180Ml</c:v>
                </c:pt>
                <c:pt idx="5">
                  <c:v>Glaxosmithkline Eclipsol Sunscreen Kids Derma Locion 50+ 60Ml</c:v>
                </c:pt>
                <c:pt idx="6">
                  <c:v>Glaxosmithkline Eclipsol Sunscreen Adults Derma Locion 50+ 60Ml</c:v>
                </c:pt>
                <c:pt idx="7">
                  <c:v>Glaxosmithkline Eclipsol Sunscreen Adults Derma Locion 50+ 125Ml</c:v>
                </c:pt>
                <c:pt idx="8">
                  <c:v>Isdin Isdin Sunscreen Baby Derma Spray Locion 50+ 250Ml</c:v>
                </c:pt>
                <c:pt idx="9">
                  <c:v>Isdin Isdin Sunscreen Adults Derma Locion 50+ 200Ml</c:v>
                </c:pt>
                <c:pt idx="10">
                  <c:v>Others Fabricante Unif. Others Marca Unif. Sunscreen Adults Sport Spray Locion 50 200Ml</c:v>
                </c:pt>
                <c:pt idx="11">
                  <c:v>Others Fabricante Unif. Others Marca Unif. Sunscreen Adults Cosmetics Locion 50+ 35Ml</c:v>
                </c:pt>
                <c:pt idx="12">
                  <c:v>Others Fabricante Unif. Others Marca Unif. Sunscreen Adults Cosmetics Locion 50 100Ml</c:v>
                </c:pt>
                <c:pt idx="13">
                  <c:v>Others Fabricante Unif. Others Marca Unif. Sunscreen Kids Cosmetics Locion 50+ 177Ml</c:v>
                </c:pt>
                <c:pt idx="14">
                  <c:v>Others Fabricante Unif. Others Marca Unif. Sunscreen Adults Sport Spray Locion 50+ 100Ml</c:v>
                </c:pt>
              </c:strCache>
            </c:strRef>
          </c:cat>
          <c:val>
            <c:numRef>
              <c:f>Sheet1!$B$2:$B$16</c:f>
              <c:numCache>
                <c:formatCode>General</c:formatCode>
                <c:ptCount val="15"/>
                <c:pt idx="0">
                  <c:v>326.36</c:v>
                </c:pt>
                <c:pt idx="1">
                  <c:v>258.77</c:v>
                </c:pt>
                <c:pt idx="2">
                  <c:v>331.57</c:v>
                </c:pt>
                <c:pt idx="3">
                  <c:v>324.2</c:v>
                </c:pt>
                <c:pt idx="4">
                  <c:v>334.39</c:v>
                </c:pt>
                <c:pt idx="5">
                  <c:v>296.43</c:v>
                </c:pt>
                <c:pt idx="6">
                  <c:v>299.19</c:v>
                </c:pt>
                <c:pt idx="7">
                  <c:v>771.17</c:v>
                </c:pt>
                <c:pt idx="8">
                  <c:v>655.6</c:v>
                </c:pt>
                <c:pt idx="9">
                  <c:v>600.21</c:v>
                </c:pt>
                <c:pt idx="10">
                  <c:v>288.31</c:v>
                </c:pt>
                <c:pt idx="11">
                  <c:v>49.31</c:v>
                </c:pt>
                <c:pt idx="12">
                  <c:v>204.11</c:v>
                </c:pt>
                <c:pt idx="13">
                  <c:v>367.0</c:v>
                </c:pt>
                <c:pt idx="14">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8</a:t>
                    </a:r>
                  </a:p>
                </c:rich>
              </c:tx>
              <c:showLegendKey val="0"/>
              <c:showVal val="1"/>
              <c:showCatName val="0"/>
              <c:showSerName val="0"/>
              <c:showPercent val="0"/>
              <c:showBubbleSize val="0"/>
            </c:dLbl>
            <c:dLbl>
              <c:idx val="1"/>
              <c:tx>
                <c:rich>
                  <a:bodyPr/>
                  <a:lstStyle/>
                  <a:p>
                    <a:r>
                      <a:t>214.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Ultra Sunscreen Adults Sport Roll-On 60+ 75Ml</c:v>
                </c:pt>
                <c:pt idx="1">
                  <c:v>Edgewell Banana Boat Kids Sport Sunscreen Kids Cosmetics Roll-On 60+ 75Ml</c:v>
                </c:pt>
              </c:strCache>
            </c:strRef>
          </c:cat>
          <c:val>
            <c:numRef>
              <c:f>Sheet1!$B$2:$B$3</c:f>
              <c:numCache>
                <c:formatCode>General</c:formatCode>
                <c:ptCount val="2"/>
                <c:pt idx="0">
                  <c:v>218.18</c:v>
                </c:pt>
                <c:pt idx="1">
                  <c:v>214.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60.96</a:t>
                    </a:r>
                  </a:p>
                </c:rich>
              </c:tx>
              <c:showLegendKey val="0"/>
              <c:showVal val="1"/>
              <c:showCatName val="0"/>
              <c:showSerName val="0"/>
              <c:showPercent val="0"/>
              <c:showBubbleSize val="0"/>
            </c:dLbl>
            <c:dLbl>
              <c:idx val="2"/>
              <c:tx>
                <c:rich>
                  <a:bodyPr/>
                  <a:lstStyle/>
                  <a:p>
                    <a:r>
                      <a:t>234.53</a:t>
                    </a:r>
                  </a:p>
                </c:rich>
              </c:tx>
              <c:showLegendKey val="0"/>
              <c:showVal val="1"/>
              <c:showCatName val="0"/>
              <c:showSerName val="0"/>
              <c:showPercent val="0"/>
              <c:showBubbleSize val="0"/>
            </c:dLbl>
            <c:dLbl>
              <c:idx val="3"/>
              <c:tx>
                <c:rich>
                  <a:bodyPr/>
                  <a:lstStyle/>
                  <a:p>
                    <a:r>
                      <a:t>725.64</a:t>
                    </a:r>
                  </a:p>
                </c:rich>
              </c:tx>
              <c:showLegendKey val="0"/>
              <c:showVal val="1"/>
              <c:showCatName val="0"/>
              <c:showSerName val="0"/>
              <c:showPercent val="0"/>
              <c:showBubbleSize val="0"/>
            </c:dLbl>
            <c:dLbl>
              <c:idx val="4"/>
              <c:tx>
                <c:rich>
                  <a:bodyPr/>
                  <a:lstStyle/>
                  <a:p>
                    <a:r>
                      <a:t>865.31</a:t>
                    </a:r>
                  </a:p>
                </c:rich>
              </c:tx>
              <c:showLegendKey val="0"/>
              <c:showVal val="1"/>
              <c:showCatName val="0"/>
              <c:showSerName val="0"/>
              <c:showPercent val="0"/>
              <c:showBubbleSize val="0"/>
            </c:dLbl>
            <c:dLbl>
              <c:idx val="5"/>
              <c:tx>
                <c:rich>
                  <a:bodyPr/>
                  <a:lstStyle/>
                  <a:p>
                    <a:r>
                      <a:t>828.24</a:t>
                    </a:r>
                  </a:p>
                </c:rich>
              </c:tx>
              <c:showLegendKey val="0"/>
              <c:showVal val="1"/>
              <c:showCatName val="0"/>
              <c:showSerName val="0"/>
              <c:showPercent val="0"/>
              <c:showBubbleSize val="0"/>
            </c:dLbl>
            <c:dLbl>
              <c:idx val="6"/>
              <c:tx>
                <c:rich>
                  <a:bodyPr/>
                  <a:lstStyle/>
                  <a:p>
                    <a:r>
                      <a:t>379.28</a:t>
                    </a:r>
                  </a:p>
                </c:rich>
              </c:tx>
              <c:showLegendKey val="0"/>
              <c:showVal val="1"/>
              <c:showCatName val="0"/>
              <c:showSerName val="0"/>
              <c:showPercent val="0"/>
              <c:showBubbleSize val="0"/>
            </c:dLbl>
            <c:dLbl>
              <c:idx val="7"/>
              <c:tx>
                <c:rich>
                  <a:bodyPr/>
                  <a:lstStyle/>
                  <a:p>
                    <a:r>
                      <a:t>1239.0</a:t>
                    </a:r>
                  </a:p>
                </c:rich>
              </c:tx>
              <c:showLegendKey val="0"/>
              <c:showVal val="1"/>
              <c:showCatName val="0"/>
              <c:showSerName val="0"/>
              <c:showPercent val="0"/>
              <c:showBubbleSize val="0"/>
            </c:dLbl>
            <c:dLbl>
              <c:idx val="8"/>
              <c:tx>
                <c:rich>
                  <a:bodyPr/>
                  <a:lstStyle/>
                  <a:p>
                    <a:r>
                      <a:t>830.08</a:t>
                    </a:r>
                  </a:p>
                </c:rich>
              </c:tx>
              <c:showLegendKey val="0"/>
              <c:showVal val="1"/>
              <c:showCatName val="0"/>
              <c:showSerName val="0"/>
              <c:showPercent val="0"/>
              <c:showBubbleSize val="0"/>
            </c:dLbl>
            <c:dLbl>
              <c:idx val="9"/>
              <c:tx>
                <c:rich>
                  <a:bodyPr/>
                  <a:lstStyle/>
                  <a:p>
                    <a:r>
                      <a:t>407.99</a:t>
                    </a:r>
                  </a:p>
                </c:rich>
              </c:tx>
              <c:showLegendKey val="0"/>
              <c:showVal val="1"/>
              <c:showCatName val="0"/>
              <c:showSerName val="0"/>
              <c:showPercent val="0"/>
              <c:showBubbleSize val="0"/>
            </c:dLbl>
            <c:dLbl>
              <c:idx val="10"/>
              <c:tx>
                <c:rich>
                  <a:bodyPr/>
                  <a:lstStyle/>
                  <a:p>
                    <a:r>
                      <a:t>350.51</a:t>
                    </a:r>
                  </a:p>
                </c:rich>
              </c:tx>
              <c:showLegendKey val="0"/>
              <c:showVal val="1"/>
              <c:showCatName val="0"/>
              <c:showSerName val="0"/>
              <c:showPercent val="0"/>
              <c:showBubbleSize val="0"/>
            </c:dLbl>
            <c:dLbl>
              <c:idx val="11"/>
              <c:tx>
                <c:rich>
                  <a:bodyPr/>
                  <a:lstStyle/>
                  <a:p>
                    <a:r>
                      <a:t>357.0</a:t>
                    </a:r>
                  </a:p>
                </c:rich>
              </c:tx>
              <c:showLegendKey val="0"/>
              <c:showVal val="1"/>
              <c:showCatName val="0"/>
              <c:showSerName val="0"/>
              <c:showPercent val="0"/>
              <c:showBubbleSize val="0"/>
            </c:dLbl>
            <c:dLbl>
              <c:idx val="12"/>
              <c:tx>
                <c:rich>
                  <a:bodyPr/>
                  <a:lstStyle/>
                  <a:p>
                    <a:r>
                      <a:t>100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Spray 50+ 170Ml</c:v>
                </c:pt>
                <c:pt idx="1">
                  <c:v>Edgewell Banana Boat Dry Balance Sunscreen Adults Sport Spray 50+ 170Ml</c:v>
                </c:pt>
                <c:pt idx="2">
                  <c:v>Edgewell Banana Boat Dry Balance Sunscreen Adults Cosmetics Spray 50+ 340Ml</c:v>
                </c:pt>
                <c:pt idx="3">
                  <c:v>Bioderma Photoderm Sunscreen Adults Derma Spray 50+ 300Ml</c:v>
                </c:pt>
                <c:pt idx="4">
                  <c:v>L'Oreal La Roche-Posay Sunscreen Adults Derma Spray 50+ 200Ml</c:v>
                </c:pt>
                <c:pt idx="5">
                  <c:v>Bioderma Photoderm Sunscreen Adults Derma Spray 50+ 150Ml</c:v>
                </c:pt>
                <c:pt idx="6">
                  <c:v>Australian Gold Australian Gold Sunscreen Adults Cosmetics Spray 30 - 49 170Ml</c:v>
                </c:pt>
                <c:pt idx="7">
                  <c:v>L'Oreal La Roche-Posay Sunscreen Kids Derma Spray 50+ 200Ml</c:v>
                </c:pt>
                <c:pt idx="8">
                  <c:v>Bioderma Photoderm Sunscreen Kids Derma Spray 50+ 200Ml</c:v>
                </c:pt>
                <c:pt idx="9">
                  <c:v>Australian Gold Australian Gold Sunscreen Adults Sport Spray 50 170Ml</c:v>
                </c:pt>
                <c:pt idx="10">
                  <c:v>Australian Gold Australian Gold Sunscreen Adults Cosmetics Spray 15 - 19 170Ml</c:v>
                </c:pt>
                <c:pt idx="11">
                  <c:v>Australian Gold Australian Gold Sunscreen Kids Cosmetics Spray 50 170Ml</c:v>
                </c:pt>
                <c:pt idx="12">
                  <c:v>Bioderma Photoderm Sunscreen Adults Derma Spray 50+ 400Ml</c:v>
                </c:pt>
              </c:strCache>
            </c:strRef>
          </c:cat>
          <c:val>
            <c:numRef>
              <c:f>Sheet1!$B$2:$B$14</c:f>
              <c:numCache>
                <c:formatCode>General</c:formatCode>
                <c:ptCount val="13"/>
                <c:pt idx="0">
                  <c:v>310.0</c:v>
                </c:pt>
                <c:pt idx="1">
                  <c:v>360.96</c:v>
                </c:pt>
                <c:pt idx="2">
                  <c:v>234.53</c:v>
                </c:pt>
                <c:pt idx="3">
                  <c:v>725.64</c:v>
                </c:pt>
                <c:pt idx="4">
                  <c:v>865.31</c:v>
                </c:pt>
                <c:pt idx="5">
                  <c:v>828.24</c:v>
                </c:pt>
                <c:pt idx="6">
                  <c:v>379.28</c:v>
                </c:pt>
                <c:pt idx="7">
                  <c:v>1239.0</c:v>
                </c:pt>
                <c:pt idx="8">
                  <c:v>830.08</c:v>
                </c:pt>
                <c:pt idx="9">
                  <c:v>407.99</c:v>
                </c:pt>
                <c:pt idx="10">
                  <c:v>350.51</c:v>
                </c:pt>
                <c:pt idx="11">
                  <c:v>357.0</c:v>
                </c:pt>
                <c:pt idx="12">
                  <c:v>100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674.89</a:t>
                    </a:r>
                  </a:p>
                </c:rich>
              </c:tx>
              <c:showLegendKey val="0"/>
              <c:showVal val="1"/>
              <c:showCatName val="0"/>
              <c:showSerName val="0"/>
              <c:showPercent val="0"/>
              <c:showBubbleSize val="0"/>
            </c:dLbl>
            <c:dLbl>
              <c:idx val="2"/>
              <c:tx>
                <c:rich>
                  <a:bodyPr/>
                  <a:lstStyle/>
                  <a:p>
                    <a:r>
                      <a:t>601.2</a:t>
                    </a:r>
                  </a:p>
                </c:rich>
              </c:tx>
              <c:showLegendKey val="0"/>
              <c:showVal val="1"/>
              <c:showCatName val="0"/>
              <c:showSerName val="0"/>
              <c:showPercent val="0"/>
              <c:showBubbleSize val="0"/>
            </c:dLbl>
            <c:dLbl>
              <c:idx val="3"/>
              <c:tx>
                <c:rich>
                  <a:bodyPr/>
                  <a:lstStyle/>
                  <a:p>
                    <a:r>
                      <a:t>542.95</a:t>
                    </a:r>
                  </a:p>
                </c:rich>
              </c:tx>
              <c:showLegendKey val="0"/>
              <c:showVal val="1"/>
              <c:showCatName val="0"/>
              <c:showSerName val="0"/>
              <c:showPercent val="0"/>
              <c:showBubbleSize val="0"/>
            </c:dLbl>
            <c:dLbl>
              <c:idx val="4"/>
              <c:tx>
                <c:rich>
                  <a:bodyPr/>
                  <a:lstStyle/>
                  <a:p>
                    <a:r>
                      <a:t>821.97</a:t>
                    </a:r>
                  </a:p>
                </c:rich>
              </c:tx>
              <c:showLegendKey val="0"/>
              <c:showVal val="1"/>
              <c:showCatName val="0"/>
              <c:showSerName val="0"/>
              <c:showPercent val="0"/>
              <c:showBubbleSize val="0"/>
            </c:dLbl>
            <c:dLbl>
              <c:idx val="5"/>
              <c:tx>
                <c:rich>
                  <a:bodyPr/>
                  <a:lstStyle/>
                  <a:p>
                    <a:r>
                      <a:t>155.91</a:t>
                    </a:r>
                  </a:p>
                </c:rich>
              </c:tx>
              <c:showLegendKey val="0"/>
              <c:showVal val="1"/>
              <c:showCatName val="0"/>
              <c:showSerName val="0"/>
              <c:showPercent val="0"/>
              <c:showBubbleSize val="0"/>
            </c:dLbl>
            <c:dLbl>
              <c:idx val="6"/>
              <c:tx>
                <c:rich>
                  <a:bodyPr/>
                  <a:lstStyle/>
                  <a:p>
                    <a:r>
                      <a:t>235.8</a:t>
                    </a:r>
                  </a:p>
                </c:rich>
              </c:tx>
              <c:showLegendKey val="0"/>
              <c:showVal val="1"/>
              <c:showCatName val="0"/>
              <c:showSerName val="0"/>
              <c:showPercent val="0"/>
              <c:showBubbleSize val="0"/>
            </c:dLbl>
            <c:dLbl>
              <c:idx val="7"/>
              <c:tx>
                <c:rich>
                  <a:bodyPr/>
                  <a:lstStyle/>
                  <a:p>
                    <a:r>
                      <a:t>88.62</a:t>
                    </a:r>
                  </a:p>
                </c:rich>
              </c:tx>
              <c:showLegendKey val="0"/>
              <c:showVal val="1"/>
              <c:showCatName val="0"/>
              <c:showSerName val="0"/>
              <c:showPercent val="0"/>
              <c:showBubbleSize val="0"/>
            </c:dLbl>
            <c:dLbl>
              <c:idx val="8"/>
              <c:tx>
                <c:rich>
                  <a:bodyPr/>
                  <a:lstStyle/>
                  <a:p>
                    <a:r>
                      <a:t>371.44</a:t>
                    </a:r>
                  </a:p>
                </c:rich>
              </c:tx>
              <c:showLegendKey val="0"/>
              <c:showVal val="1"/>
              <c:showCatName val="0"/>
              <c:showSerName val="0"/>
              <c:showPercent val="0"/>
              <c:showBubbleSize val="0"/>
            </c:dLbl>
            <c:dLbl>
              <c:idx val="9"/>
              <c:tx>
                <c:rich>
                  <a:bodyPr/>
                  <a:lstStyle/>
                  <a:p>
                    <a:r>
                      <a:t>88.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Tanning Sunscreen Adults Cosmetics Aceite 15 - 19 240Ml</c:v>
                </c:pt>
                <c:pt idx="1">
                  <c:v>Isdin Isdin Sunscreen Adults Derma Spray Aceite 50 200Ml</c:v>
                </c:pt>
                <c:pt idx="2">
                  <c:v>Isdin Isdin Sunscreen Adults Derma Aceite 30 200Ml</c:v>
                </c:pt>
                <c:pt idx="3">
                  <c:v>L'Oreal La Roche-Posay Sunscreen Adults Derma Spray Aceite 50 75Ml</c:v>
                </c:pt>
                <c:pt idx="4">
                  <c:v>L'Oreal La Roche-Posay Sunscreen Adults Derma Spray Aceite 50+ 200Ml</c:v>
                </c:pt>
                <c:pt idx="5">
                  <c:v>Others Fabricante Unif. Others Marca Unif. Sunscreen Adults Cosmetics Aceite 30 - 49 75Ml</c:v>
                </c:pt>
                <c:pt idx="6">
                  <c:v>Others Fabricante Unif. Others Marca Unif. Sunscreen Adults Cosmetics Aceite 30 - 49 150Ml</c:v>
                </c:pt>
                <c:pt idx="7">
                  <c:v>Others Fabricante Unif. Others Marca Unif. Sunscreen Adults Derma Spray Aceite 50+ 150Ml</c:v>
                </c:pt>
                <c:pt idx="8">
                  <c:v>Others Fabricante Unif. Others Marca Unif. Sunscreen Adults Cosmetics Spray Aceite 30 200Ml</c:v>
                </c:pt>
                <c:pt idx="9">
                  <c:v>Others Fabricante Unif. Others Marca Unif. Sunscreen Kids Derma Spray Aceite 50+ 150Ml</c:v>
                </c:pt>
              </c:strCache>
            </c:strRef>
          </c:cat>
          <c:val>
            <c:numRef>
              <c:f>Sheet1!$B$2:$B$11</c:f>
              <c:numCache>
                <c:formatCode>General</c:formatCode>
                <c:ptCount val="10"/>
                <c:pt idx="0">
                  <c:v>399.0</c:v>
                </c:pt>
                <c:pt idx="1">
                  <c:v>674.89</c:v>
                </c:pt>
                <c:pt idx="2">
                  <c:v>601.2</c:v>
                </c:pt>
                <c:pt idx="3">
                  <c:v>542.95</c:v>
                </c:pt>
                <c:pt idx="4">
                  <c:v>821.97</c:v>
                </c:pt>
                <c:pt idx="5">
                  <c:v>155.91</c:v>
                </c:pt>
                <c:pt idx="6">
                  <c:v>235.8</c:v>
                </c:pt>
                <c:pt idx="7">
                  <c:v>88.62</c:v>
                </c:pt>
                <c:pt idx="8">
                  <c:v>371.44</c:v>
                </c:pt>
                <c:pt idx="9">
                  <c:v>88.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189.32</a:t>
                    </a:r>
                  </a:p>
                </c:rich>
              </c:tx>
              <c:showLegendKey val="0"/>
              <c:showVal val="1"/>
              <c:showCatName val="0"/>
              <c:showSerName val="0"/>
              <c:showPercent val="0"/>
              <c:showBubbleSize val="0"/>
            </c:dLbl>
            <c:dLbl>
              <c:idx val="2"/>
              <c:tx>
                <c:rich>
                  <a:bodyPr/>
                  <a:lstStyle/>
                  <a:p>
                    <a:r>
                      <a:t>301.36</a:t>
                    </a:r>
                  </a:p>
                </c:rich>
              </c:tx>
              <c:showLegendKey val="0"/>
              <c:showVal val="1"/>
              <c:showCatName val="0"/>
              <c:showSerName val="0"/>
              <c:showPercent val="0"/>
              <c:showBubbleSize val="0"/>
            </c:dLbl>
            <c:dLbl>
              <c:idx val="3"/>
              <c:tx>
                <c:rich>
                  <a:bodyPr/>
                  <a:lstStyle/>
                  <a:p>
                    <a:r>
                      <a:t>209.15</a:t>
                    </a:r>
                  </a:p>
                </c:rich>
              </c:tx>
              <c:showLegendKey val="0"/>
              <c:showVal val="1"/>
              <c:showCatName val="0"/>
              <c:showSerName val="0"/>
              <c:showPercent val="0"/>
              <c:showBubbleSize val="0"/>
            </c:dLbl>
            <c:dLbl>
              <c:idx val="4"/>
              <c:tx>
                <c:rich>
                  <a:bodyPr/>
                  <a:lstStyle/>
                  <a:p>
                    <a:r>
                      <a:t>221.98</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62</a:t>
                    </a:r>
                  </a:p>
                </c:rich>
              </c:tx>
              <c:showLegendKey val="0"/>
              <c:showVal val="1"/>
              <c:showCatName val="0"/>
              <c:showSerName val="0"/>
              <c:showPercent val="0"/>
              <c:showBubbleSize val="0"/>
            </c:dLbl>
            <c:dLbl>
              <c:idx val="8"/>
              <c:tx>
                <c:rich>
                  <a:bodyPr/>
                  <a:lstStyle/>
                  <a:p>
                    <a:r>
                      <a:t>376.71</a:t>
                    </a:r>
                  </a:p>
                </c:rich>
              </c:tx>
              <c:showLegendKey val="0"/>
              <c:showVal val="1"/>
              <c:showCatName val="0"/>
              <c:showSerName val="0"/>
              <c:showPercent val="0"/>
              <c:showBubbleSize val="0"/>
            </c:dLbl>
            <c:dLbl>
              <c:idx val="9"/>
              <c:tx>
                <c:rich>
                  <a:bodyPr/>
                  <a:lstStyle/>
                  <a:p>
                    <a:r>
                      <a:t>340.62</a:t>
                    </a:r>
                  </a:p>
                </c:rich>
              </c:tx>
              <c:showLegendKey val="0"/>
              <c:showVal val="1"/>
              <c:showCatName val="0"/>
              <c:showSerName val="0"/>
              <c:showPercent val="0"/>
              <c:showBubbleSize val="0"/>
            </c:dLbl>
            <c:dLbl>
              <c:idx val="10"/>
              <c:tx>
                <c:rich>
                  <a:bodyPr/>
                  <a:lstStyle/>
                  <a:p>
                    <a:r>
                      <a:t>263.06</a:t>
                    </a:r>
                  </a:p>
                </c:rich>
              </c:tx>
              <c:showLegendKey val="0"/>
              <c:showVal val="1"/>
              <c:showCatName val="0"/>
              <c:showSerName val="0"/>
              <c:showPercent val="0"/>
              <c:showBubbleSize val="0"/>
            </c:dLbl>
            <c:dLbl>
              <c:idx val="11"/>
              <c:tx>
                <c:rich>
                  <a:bodyPr/>
                  <a:lstStyle/>
                  <a:p>
                    <a:r>
                      <a:t>459.33</a:t>
                    </a:r>
                  </a:p>
                </c:rich>
              </c:tx>
              <c:showLegendKey val="0"/>
              <c:showVal val="1"/>
              <c:showCatName val="0"/>
              <c:showSerName val="0"/>
              <c:showPercent val="0"/>
              <c:showBubbleSize val="0"/>
            </c:dLbl>
            <c:dLbl>
              <c:idx val="12"/>
              <c:tx>
                <c:rich>
                  <a:bodyPr/>
                  <a:lstStyle/>
                  <a:p>
                    <a:r>
                      <a:t>592.81</a:t>
                    </a:r>
                  </a:p>
                </c:rich>
              </c:tx>
              <c:showLegendKey val="0"/>
              <c:showVal val="1"/>
              <c:showCatName val="0"/>
              <c:showSerName val="0"/>
              <c:showPercent val="0"/>
              <c:showBubbleSize val="0"/>
            </c:dLbl>
            <c:dLbl>
              <c:idx val="13"/>
              <c:tx>
                <c:rich>
                  <a:bodyPr/>
                  <a:lstStyle/>
                  <a:p>
                    <a:r>
                      <a:t>281.56</a:t>
                    </a:r>
                  </a:p>
                </c:rich>
              </c:tx>
              <c:showLegendKey val="0"/>
              <c:showVal val="1"/>
              <c:showCatName val="0"/>
              <c:showSerName val="0"/>
              <c:showPercent val="0"/>
              <c:showBubbleSize val="0"/>
            </c:dLbl>
            <c:dLbl>
              <c:idx val="14"/>
              <c:tx>
                <c:rich>
                  <a:bodyPr/>
                  <a:lstStyle/>
                  <a:p>
                    <a:r>
                      <a:t>316.47</a:t>
                    </a:r>
                  </a:p>
                </c:rich>
              </c:tx>
              <c:showLegendKey val="0"/>
              <c:showVal val="1"/>
              <c:showCatName val="0"/>
              <c:showSerName val="0"/>
              <c:showPercent val="0"/>
              <c:showBubbleSize val="0"/>
            </c:dLbl>
            <c:dLbl>
              <c:idx val="15"/>
              <c:tx>
                <c:rich>
                  <a:bodyPr/>
                  <a:lstStyle/>
                  <a:p>
                    <a:r>
                      <a:t>281.02</a:t>
                    </a:r>
                  </a:p>
                </c:rich>
              </c:tx>
              <c:showLegendKey val="0"/>
              <c:showVal val="1"/>
              <c:showCatName val="0"/>
              <c:showSerName val="0"/>
              <c:showPercent val="0"/>
              <c:showBubbleSize val="0"/>
            </c:dLbl>
            <c:dLbl>
              <c:idx val="16"/>
              <c:tx>
                <c:rich>
                  <a:bodyPr/>
                  <a:lstStyle/>
                  <a:p>
                    <a:r>
                      <a:t>262.13</a:t>
                    </a:r>
                  </a:p>
                </c:rich>
              </c:tx>
              <c:showLegendKey val="0"/>
              <c:showVal val="1"/>
              <c:showCatName val="0"/>
              <c:showSerName val="0"/>
              <c:showPercent val="0"/>
              <c:showBubbleSize val="0"/>
            </c:dLbl>
            <c:dLbl>
              <c:idx val="17"/>
              <c:tx>
                <c:rich>
                  <a:bodyPr/>
                  <a:lstStyle/>
                  <a:p>
                    <a:r>
                      <a:t>305.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Hawaiian Tropic Other Sunscreen Adults Cosmetics Crema 50+ 240Ml</c:v>
                </c:pt>
                <c:pt idx="1">
                  <c:v>Edgewell Hawaiian Tropic Sheer Touch Sunscreen Adults Cosmetics Crema 50 120Ml</c:v>
                </c:pt>
                <c:pt idx="2">
                  <c:v>Edgewell Hawaiian Tropic Sheer Touch Sunscreen Adults Cosmetics Crema 30 - 49 240Ml</c:v>
                </c:pt>
                <c:pt idx="3">
                  <c:v>Edgewell Hawaiian Tropic Ozono Sunscreen Adults Cosmetics Crema 50+ 120Ml</c:v>
                </c:pt>
                <c:pt idx="4">
                  <c:v>Edgewell Hawaiian Tropic Other Sunscreen Adults Cosmetics Spray Crema 50 180Ml</c:v>
                </c:pt>
                <c:pt idx="5">
                  <c:v>Isdin Isdin Sunscreen Adults Derma Crema 50+ 50Ml</c:v>
                </c:pt>
                <c:pt idx="6">
                  <c:v>Isdin Isdin Sunscreen Adults Derma Crema 50 50Ml</c:v>
                </c:pt>
                <c:pt idx="7">
                  <c:v>Isdin Isdin Sunscreen Adults Derma Crema 30 50Ml</c:v>
                </c:pt>
                <c:pt idx="8">
                  <c:v>J&amp;J Neutrogena Sunscreen Adults Derma Crema 50+ 40Ml</c:v>
                </c:pt>
                <c:pt idx="9">
                  <c:v>J&amp;J Neutrogena Sunscreen Adults Derma Crema 50 200Ml</c:v>
                </c:pt>
                <c:pt idx="10">
                  <c:v>J&amp;J Neutrogena Sunscreen Adults Derma Crema 50 120Ml</c:v>
                </c:pt>
                <c:pt idx="11">
                  <c:v>J&amp;J Neutrogena Sunscreen Adults Derma Crema 50 40Ml</c:v>
                </c:pt>
                <c:pt idx="12">
                  <c:v>nan</c:v>
                </c:pt>
                <c:pt idx="13">
                  <c:v>Beiersdorf Nivea Sunscreen Adults Cosmetics Crema 50 50Ml</c:v>
                </c:pt>
                <c:pt idx="14">
                  <c:v>Beiersdorf Nivea Sunscreen Adults Cosmetics Crema 50+ 200Ml</c:v>
                </c:pt>
                <c:pt idx="15">
                  <c:v>Beiersdorf Nivea Sunscreen Adults Cosmetics Crema 50+ 40Ml</c:v>
                </c:pt>
                <c:pt idx="16">
                  <c:v>Beiersdorf Nivea Sunscreen Adults Cosmetics Crema 50+ 50Ml</c:v>
                </c:pt>
                <c:pt idx="17">
                  <c:v>Beiersdorf Nivea Sunscreen Adults Cosmetics Crema 30 - 49 200Ml</c:v>
                </c:pt>
              </c:strCache>
            </c:strRef>
          </c:cat>
          <c:val>
            <c:numRef>
              <c:f>Sheet1!$B$2:$B$19</c:f>
              <c:numCache>
                <c:formatCode>General</c:formatCode>
                <c:ptCount val="18"/>
                <c:pt idx="0">
                  <c:v>305.74</c:v>
                </c:pt>
                <c:pt idx="1">
                  <c:v>189.32</c:v>
                </c:pt>
                <c:pt idx="2">
                  <c:v>301.36</c:v>
                </c:pt>
                <c:pt idx="3">
                  <c:v>209.15</c:v>
                </c:pt>
                <c:pt idx="4">
                  <c:v>221.98</c:v>
                </c:pt>
                <c:pt idx="5">
                  <c:v>635.1</c:v>
                </c:pt>
                <c:pt idx="6">
                  <c:v>641.3</c:v>
                </c:pt>
                <c:pt idx="7">
                  <c:v>647.62</c:v>
                </c:pt>
                <c:pt idx="8">
                  <c:v>376.71</c:v>
                </c:pt>
                <c:pt idx="9">
                  <c:v>340.62</c:v>
                </c:pt>
                <c:pt idx="10">
                  <c:v>263.06</c:v>
                </c:pt>
                <c:pt idx="11">
                  <c:v>459.33</c:v>
                </c:pt>
                <c:pt idx="12">
                  <c:v>592.81</c:v>
                </c:pt>
                <c:pt idx="13">
                  <c:v>281.56</c:v>
                </c:pt>
                <c:pt idx="14">
                  <c:v>316.47</c:v>
                </c:pt>
                <c:pt idx="15">
                  <c:v>281.02</c:v>
                </c:pt>
                <c:pt idx="16">
                  <c:v>262.13</c:v>
                </c:pt>
                <c:pt idx="17">
                  <c:v>305.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91</a:t>
                    </a:r>
                  </a:p>
                </c:rich>
              </c:tx>
              <c:dLblPos val="t"/>
              <c:showLegendKey val="0"/>
              <c:showVal val="1"/>
              <c:showCatName val="0"/>
              <c:showSerName val="0"/>
              <c:showPercent val="0"/>
              <c:showBubbleSize val="0"/>
            </c:dLbl>
            <c:dLbl>
              <c:idx val="1"/>
              <c:tx>
                <c:rich>
                  <a:bodyPr/>
                  <a:lstStyle/>
                  <a:p>
                    <a:r>
                      <a:t>295.5</a:t>
                    </a:r>
                  </a:p>
                </c:rich>
              </c:tx>
              <c:dLblPos val="t"/>
              <c:showLegendKey val="0"/>
              <c:showVal val="1"/>
              <c:showCatName val="0"/>
              <c:showSerName val="0"/>
              <c:showPercent val="0"/>
              <c:showBubbleSize val="0"/>
            </c:dLbl>
            <c:dLbl>
              <c:idx val="2"/>
              <c:tx>
                <c:rich>
                  <a:bodyPr/>
                  <a:lstStyle/>
                  <a:p>
                    <a:r>
                      <a:t>292.61</a:t>
                    </a:r>
                  </a:p>
                </c:rich>
              </c:tx>
              <c:dLblPos val="t"/>
              <c:showLegendKey val="0"/>
              <c:showVal val="1"/>
              <c:showCatName val="0"/>
              <c:showSerName val="0"/>
              <c:showPercent val="0"/>
              <c:showBubbleSize val="0"/>
            </c:dLbl>
            <c:dLbl>
              <c:idx val="3"/>
              <c:tx>
                <c:rich>
                  <a:bodyPr/>
                  <a:lstStyle/>
                  <a:p>
                    <a:r>
                      <a:t>323.42</a:t>
                    </a:r>
                  </a:p>
                </c:rich>
              </c:tx>
              <c:dLblPos val="t"/>
              <c:showLegendKey val="0"/>
              <c:showVal val="1"/>
              <c:showCatName val="0"/>
              <c:showSerName val="0"/>
              <c:showPercent val="0"/>
              <c:showBubbleSize val="0"/>
            </c:dLbl>
            <c:dLbl>
              <c:idx val="4"/>
              <c:tx>
                <c:rich>
                  <a:bodyPr/>
                  <a:lstStyle/>
                  <a:p>
                    <a:r>
                      <a:t>309.18</a:t>
                    </a:r>
                  </a:p>
                </c:rich>
              </c:tx>
              <c:dLblPos val="t"/>
              <c:showLegendKey val="0"/>
              <c:showVal val="1"/>
              <c:showCatName val="0"/>
              <c:showSerName val="0"/>
              <c:showPercent val="0"/>
              <c:showBubbleSize val="0"/>
            </c:dLbl>
            <c:dLbl>
              <c:idx val="5"/>
              <c:tx>
                <c:rich>
                  <a:bodyPr/>
                  <a:lstStyle/>
                  <a:p>
                    <a:r>
                      <a:t>105.11</a:t>
                    </a:r>
                  </a:p>
                </c:rich>
              </c:tx>
              <c:dLblPos val="t"/>
              <c:showLegendKey val="0"/>
              <c:showVal val="1"/>
              <c:showCatName val="0"/>
              <c:showSerName val="0"/>
              <c:showPercent val="0"/>
              <c:showBubbleSize val="0"/>
            </c:dLbl>
            <c:dLbl>
              <c:idx val="6"/>
              <c:tx>
                <c:rich>
                  <a:bodyPr/>
                  <a:lstStyle/>
                  <a:p>
                    <a:r>
                      <a:t>185.59</a:t>
                    </a:r>
                  </a:p>
                </c:rich>
              </c:tx>
              <c:dLblPos val="t"/>
              <c:showLegendKey val="0"/>
              <c:showVal val="1"/>
              <c:showCatName val="0"/>
              <c:showSerName val="0"/>
              <c:showPercent val="0"/>
              <c:showBubbleSize val="0"/>
            </c:dLbl>
            <c:dLbl>
              <c:idx val="7"/>
              <c:tx>
                <c:rich>
                  <a:bodyPr/>
                  <a:lstStyle/>
                  <a:p>
                    <a:r>
                      <a:t>302.74</a:t>
                    </a:r>
                  </a:p>
                </c:rich>
              </c:tx>
              <c:dLblPos val="t"/>
              <c:showLegendKey val="0"/>
              <c:showVal val="1"/>
              <c:showCatName val="0"/>
              <c:showSerName val="0"/>
              <c:showPercent val="0"/>
              <c:showBubbleSize val="0"/>
            </c:dLbl>
            <c:dLbl>
              <c:idx val="8"/>
              <c:tx>
                <c:rich>
                  <a:bodyPr/>
                  <a:lstStyle/>
                  <a:p>
                    <a:r>
                      <a:t>282.36</a:t>
                    </a:r>
                  </a:p>
                </c:rich>
              </c:tx>
              <c:dLblPos val="t"/>
              <c:showLegendKey val="0"/>
              <c:showVal val="1"/>
              <c:showCatName val="0"/>
              <c:showSerName val="0"/>
              <c:showPercent val="0"/>
              <c:showBubbleSize val="0"/>
            </c:dLbl>
            <c:dLbl>
              <c:idx val="9"/>
              <c:tx>
                <c:rich>
                  <a:bodyPr/>
                  <a:lstStyle/>
                  <a:p>
                    <a:r>
                      <a:t>93.35</a:t>
                    </a:r>
                  </a:p>
                </c:rich>
              </c:tx>
              <c:dLblPos val="t"/>
              <c:showLegendKey val="0"/>
              <c:showVal val="1"/>
              <c:showCatName val="0"/>
              <c:showSerName val="0"/>
              <c:showPercent val="0"/>
              <c:showBubbleSize val="0"/>
            </c:dLbl>
            <c:dLbl>
              <c:idx val="10"/>
              <c:tx>
                <c:rich>
                  <a:bodyPr/>
                  <a:lstStyle/>
                  <a:p>
                    <a:r>
                      <a:t>288.86</a:t>
                    </a:r>
                  </a:p>
                </c:rich>
              </c:tx>
              <c:dLblPos val="t"/>
              <c:showLegendKey val="0"/>
              <c:showVal val="1"/>
              <c:showCatName val="0"/>
              <c:showSerName val="0"/>
              <c:showPercent val="0"/>
              <c:showBubbleSize val="0"/>
            </c:dLbl>
            <c:dLbl>
              <c:idx val="11"/>
              <c:tx>
                <c:rich>
                  <a:bodyPr/>
                  <a:lstStyle/>
                  <a:p>
                    <a:r>
                      <a:t>305.21</a:t>
                    </a:r>
                  </a:p>
                </c:rich>
              </c:tx>
              <c:dLblPos val="t"/>
              <c:showLegendKey val="0"/>
              <c:showVal val="1"/>
              <c:showCatName val="0"/>
              <c:showSerName val="0"/>
              <c:showPercent val="0"/>
              <c:showBubbleSize val="0"/>
            </c:dLbl>
            <c:dLbl>
              <c:idx val="12"/>
              <c:tx>
                <c:rich>
                  <a:bodyPr/>
                  <a:lstStyle/>
                  <a:p>
                    <a:r>
                      <a:t>300.66</a:t>
                    </a:r>
                  </a:p>
                </c:rich>
              </c:tx>
              <c:dLblPos val="t"/>
              <c:showLegendKey val="0"/>
              <c:showVal val="1"/>
              <c:showCatName val="0"/>
              <c:showSerName val="0"/>
              <c:showPercent val="0"/>
              <c:showBubbleSize val="0"/>
            </c:dLbl>
            <c:dLbl>
              <c:idx val="13"/>
              <c:tx>
                <c:rich>
                  <a:bodyPr/>
                  <a:lstStyle/>
                  <a:p>
                    <a:r>
                      <a:t>279.87</a:t>
                    </a:r>
                  </a:p>
                </c:rich>
              </c:tx>
              <c:dLblPos val="t"/>
              <c:showLegendKey val="0"/>
              <c:showVal val="1"/>
              <c:showCatName val="0"/>
              <c:showSerName val="0"/>
              <c:showPercent val="0"/>
              <c:showBubbleSize val="0"/>
            </c:dLbl>
            <c:dLbl>
              <c:idx val="14"/>
              <c:tx>
                <c:rich>
                  <a:bodyPr/>
                  <a:lstStyle/>
                  <a:p>
                    <a:r>
                      <a:t>18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Island Sport Sunscreen Adults Sport Spray Liquido 50 220Ml</c:v>
                </c:pt>
                <c:pt idx="4">
                  <c:v>Edgewell Hawaiian Tropic Ozono Sunscreen Adults Cosmetics Spray Liquido 50+ 180Ml</c:v>
                </c:pt>
                <c:pt idx="5">
                  <c:v>Edgewell Hawaiian Tropic Ozono Sunscreen Adults Cosmetics Liquido 50+ 90Ml</c:v>
                </c:pt>
                <c:pt idx="6">
                  <c:v>Edgewell Hawaiian Tropic Sheer Touch Sunscreen Adults Cosmetics Crema 50 120Ml</c:v>
                </c:pt>
                <c:pt idx="7">
                  <c:v>Edgewell Hawaiian Tropic Silk Hydration Sunscreen Adults Cosmetics Liquido 50 180Ml</c:v>
                </c:pt>
                <c:pt idx="8">
                  <c:v>Edgewell Hawaiian Tropic Sheer Touch Sunscreen Adults Cosmetics Crema 30 - 49 240Ml</c:v>
                </c:pt>
                <c:pt idx="9">
                  <c:v>Edgewell Hawaiian Tropic Island Sport Sunscreen Adults Sport Liquido 50 60Ml</c:v>
                </c:pt>
                <c:pt idx="10">
                  <c:v>Edgewell Hawaiian Tropic Tanning Sunscreen Adults Cosmetics Spray Liquido 15 - 19 220Ml</c:v>
                </c:pt>
                <c:pt idx="11">
                  <c:v>Edgewell Hawaiian Tropic Silk Hydration Sunscreen Adults Cosmetics Spray Liquido 50+ 18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91.91</c:v>
                </c:pt>
                <c:pt idx="1">
                  <c:v>295.5</c:v>
                </c:pt>
                <c:pt idx="2">
                  <c:v>292.61</c:v>
                </c:pt>
                <c:pt idx="3">
                  <c:v>323.42</c:v>
                </c:pt>
                <c:pt idx="4">
                  <c:v>309.18</c:v>
                </c:pt>
                <c:pt idx="5">
                  <c:v>105.11</c:v>
                </c:pt>
                <c:pt idx="6">
                  <c:v>185.59</c:v>
                </c:pt>
                <c:pt idx="7">
                  <c:v>302.74</c:v>
                </c:pt>
                <c:pt idx="8">
                  <c:v>282.36</c:v>
                </c:pt>
                <c:pt idx="9">
                  <c:v>93.35</c:v>
                </c:pt>
                <c:pt idx="10">
                  <c:v>288.86</c:v>
                </c:pt>
                <c:pt idx="11">
                  <c:v>305.21</c:v>
                </c:pt>
                <c:pt idx="12">
                  <c:v>300.66</c:v>
                </c:pt>
                <c:pt idx="13">
                  <c:v>279.87</c:v>
                </c:pt>
                <c:pt idx="14">
                  <c:v>18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showLegendKey val="0"/>
              <c:showVal val="1"/>
              <c:showCatName val="0"/>
              <c:showSerName val="0"/>
              <c:showPercent val="0"/>
              <c:showBubbleSize val="0"/>
            </c:dLbl>
            <c:dLbl>
              <c:idx val="1"/>
              <c:tx>
                <c:rich>
                  <a:bodyPr/>
                  <a:lstStyle/>
                  <a:p>
                    <a:r>
                      <a:t>290.72</a:t>
                    </a:r>
                  </a:p>
                </c:rich>
              </c:tx>
              <c:showLegendKey val="0"/>
              <c:showVal val="1"/>
              <c:showCatName val="0"/>
              <c:showSerName val="0"/>
              <c:showPercent val="0"/>
              <c:showBubbleSize val="0"/>
            </c:dLbl>
            <c:dLbl>
              <c:idx val="2"/>
              <c:tx>
                <c:rich>
                  <a:bodyPr/>
                  <a:lstStyle/>
                  <a:p>
                    <a:r>
                      <a:t>311.72</a:t>
                    </a:r>
                  </a:p>
                </c:rich>
              </c:tx>
              <c:showLegendKey val="0"/>
              <c:showVal val="1"/>
              <c:showCatName val="0"/>
              <c:showSerName val="0"/>
              <c:showPercent val="0"/>
              <c:showBubbleSize val="0"/>
            </c:dLbl>
            <c:dLbl>
              <c:idx val="3"/>
              <c:tx>
                <c:rich>
                  <a:bodyPr/>
                  <a:lstStyle/>
                  <a:p>
                    <a:r>
                      <a:t>276.37</a:t>
                    </a:r>
                  </a:p>
                </c:rich>
              </c:tx>
              <c:showLegendKey val="0"/>
              <c:showVal val="1"/>
              <c:showCatName val="0"/>
              <c:showSerName val="0"/>
              <c:showPercent val="0"/>
              <c:showBubbleSize val="0"/>
            </c:dLbl>
            <c:dLbl>
              <c:idx val="4"/>
              <c:tx>
                <c:rich>
                  <a:bodyPr/>
                  <a:lstStyle/>
                  <a:p>
                    <a:r>
                      <a:t>271.49</a:t>
                    </a:r>
                  </a:p>
                </c:rich>
              </c:tx>
              <c:showLegendKey val="0"/>
              <c:showVal val="1"/>
              <c:showCatName val="0"/>
              <c:showSerName val="0"/>
              <c:showPercent val="0"/>
              <c:showBubbleSize val="0"/>
            </c:dLbl>
            <c:dLbl>
              <c:idx val="5"/>
              <c:tx>
                <c:rich>
                  <a:bodyPr/>
                  <a:lstStyle/>
                  <a:p>
                    <a:r>
                      <a:t>635.1</a:t>
                    </a:r>
                  </a:p>
                </c:rich>
              </c:tx>
              <c:showLegendKey val="0"/>
              <c:showVal val="1"/>
              <c:showCatName val="0"/>
              <c:showSerName val="0"/>
              <c:showPercent val="0"/>
              <c:showBubbleSize val="0"/>
            </c:dLbl>
            <c:dLbl>
              <c:idx val="6"/>
              <c:tx>
                <c:rich>
                  <a:bodyPr/>
                  <a:lstStyle/>
                  <a:p>
                    <a:r>
                      <a:t>641.3</a:t>
                    </a:r>
                  </a:p>
                </c:rich>
              </c:tx>
              <c:showLegendKey val="0"/>
              <c:showVal val="1"/>
              <c:showCatName val="0"/>
              <c:showSerName val="0"/>
              <c:showPercent val="0"/>
              <c:showBubbleSize val="0"/>
            </c:dLbl>
            <c:dLbl>
              <c:idx val="7"/>
              <c:tx>
                <c:rich>
                  <a:bodyPr/>
                  <a:lstStyle/>
                  <a:p>
                    <a:r>
                      <a:t>647.62</a:t>
                    </a:r>
                  </a:p>
                </c:rich>
              </c:tx>
              <c:showLegendKey val="0"/>
              <c:showVal val="1"/>
              <c:showCatName val="0"/>
              <c:showSerName val="0"/>
              <c:showPercent val="0"/>
              <c:showBubbleSize val="0"/>
            </c:dLbl>
            <c:dLbl>
              <c:idx val="8"/>
              <c:tx>
                <c:rich>
                  <a:bodyPr/>
                  <a:lstStyle/>
                  <a:p>
                    <a:r>
                      <a:t>376.71</a:t>
                    </a:r>
                  </a:p>
                </c:rich>
              </c:tx>
              <c:showLegendKey val="0"/>
              <c:showVal val="1"/>
              <c:showCatName val="0"/>
              <c:showSerName val="0"/>
              <c:showPercent val="0"/>
              <c:showBubbleSize val="0"/>
            </c:dLbl>
            <c:dLbl>
              <c:idx val="9"/>
              <c:tx>
                <c:rich>
                  <a:bodyPr/>
                  <a:lstStyle/>
                  <a:p>
                    <a:r>
                      <a:t>340.62</a:t>
                    </a:r>
                  </a:p>
                </c:rich>
              </c:tx>
              <c:showLegendKey val="0"/>
              <c:showVal val="1"/>
              <c:showCatName val="0"/>
              <c:showSerName val="0"/>
              <c:showPercent val="0"/>
              <c:showBubbleSize val="0"/>
            </c:dLbl>
            <c:dLbl>
              <c:idx val="10"/>
              <c:tx>
                <c:rich>
                  <a:bodyPr/>
                  <a:lstStyle/>
                  <a:p>
                    <a:r>
                      <a:t>263.06</a:t>
                    </a:r>
                  </a:p>
                </c:rich>
              </c:tx>
              <c:showLegendKey val="0"/>
              <c:showVal val="1"/>
              <c:showCatName val="0"/>
              <c:showSerName val="0"/>
              <c:showPercent val="0"/>
              <c:showBubbleSize val="0"/>
            </c:dLbl>
            <c:dLbl>
              <c:idx val="11"/>
              <c:tx>
                <c:rich>
                  <a:bodyPr/>
                  <a:lstStyle/>
                  <a:p>
                    <a:r>
                      <a:t>459.33</a:t>
                    </a:r>
                  </a:p>
                </c:rich>
              </c:tx>
              <c:showLegendKey val="0"/>
              <c:showVal val="1"/>
              <c:showCatName val="0"/>
              <c:showSerName val="0"/>
              <c:showPercent val="0"/>
              <c:showBubbleSize val="0"/>
            </c:dLbl>
            <c:dLbl>
              <c:idx val="12"/>
              <c:tx>
                <c:rich>
                  <a:bodyPr/>
                  <a:lstStyle/>
                  <a:p>
                    <a:r>
                      <a:t>592.81</a:t>
                    </a:r>
                  </a:p>
                </c:rich>
              </c:tx>
              <c:showLegendKey val="0"/>
              <c:showVal val="1"/>
              <c:showCatName val="0"/>
              <c:showSerName val="0"/>
              <c:showPercent val="0"/>
              <c:showBubbleSize val="0"/>
            </c:dLbl>
            <c:dLbl>
              <c:idx val="13"/>
              <c:tx>
                <c:rich>
                  <a:bodyPr/>
                  <a:lstStyle/>
                  <a:p>
                    <a:r>
                      <a:t>281.56</a:t>
                    </a:r>
                  </a:p>
                </c:rich>
              </c:tx>
              <c:showLegendKey val="0"/>
              <c:showVal val="1"/>
              <c:showCatName val="0"/>
              <c:showSerName val="0"/>
              <c:showPercent val="0"/>
              <c:showBubbleSize val="0"/>
            </c:dLbl>
            <c:dLbl>
              <c:idx val="14"/>
              <c:tx>
                <c:rich>
                  <a:bodyPr/>
                  <a:lstStyle/>
                  <a:p>
                    <a:r>
                      <a:t>316.47</a:t>
                    </a:r>
                  </a:p>
                </c:rich>
              </c:tx>
              <c:showLegendKey val="0"/>
              <c:showVal val="1"/>
              <c:showCatName val="0"/>
              <c:showSerName val="0"/>
              <c:showPercent val="0"/>
              <c:showBubbleSize val="0"/>
            </c:dLbl>
            <c:dLbl>
              <c:idx val="15"/>
              <c:tx>
                <c:rich>
                  <a:bodyPr/>
                  <a:lstStyle/>
                  <a:p>
                    <a:r>
                      <a:t>281.02</a:t>
                    </a:r>
                  </a:p>
                </c:rich>
              </c:tx>
              <c:showLegendKey val="0"/>
              <c:showVal val="1"/>
              <c:showCatName val="0"/>
              <c:showSerName val="0"/>
              <c:showPercent val="0"/>
              <c:showBubbleSize val="0"/>
            </c:dLbl>
            <c:dLbl>
              <c:idx val="16"/>
              <c:tx>
                <c:rich>
                  <a:bodyPr/>
                  <a:lstStyle/>
                  <a:p>
                    <a:r>
                      <a:t>262.13</a:t>
                    </a:r>
                  </a:p>
                </c:rich>
              </c:tx>
              <c:showLegendKey val="0"/>
              <c:showVal val="1"/>
              <c:showCatName val="0"/>
              <c:showSerName val="0"/>
              <c:showPercent val="0"/>
              <c:showBubbleSize val="0"/>
            </c:dLbl>
            <c:dLbl>
              <c:idx val="17"/>
              <c:tx>
                <c:rich>
                  <a:bodyPr/>
                  <a:lstStyle/>
                  <a:p>
                    <a:r>
                      <a:t>305.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Kids Sport Sunscreen Kids Cosmetics Crema 50 180Ml</c:v>
                </c:pt>
                <c:pt idx="4">
                  <c:v>Edgewell Banana Boat Dry Balance Sunscreen Adults Cosmetics Spray Crema 50+ 220Ml</c:v>
                </c:pt>
                <c:pt idx="5">
                  <c:v>Isdin Isdin Sunscreen Adults Derma Crema 50+ 50Ml</c:v>
                </c:pt>
                <c:pt idx="6">
                  <c:v>Isdin Isdin Sunscreen Adults Derma Crema 50 50Ml</c:v>
                </c:pt>
                <c:pt idx="7">
                  <c:v>Isdin Isdin Sunscreen Adults Derma Crema 30 50Ml</c:v>
                </c:pt>
                <c:pt idx="8">
                  <c:v>J&amp;J Neutrogena Sunscreen Adults Derma Crema 50+ 40Ml</c:v>
                </c:pt>
                <c:pt idx="9">
                  <c:v>J&amp;J Neutrogena Sunscreen Adults Derma Crema 50 200Ml</c:v>
                </c:pt>
                <c:pt idx="10">
                  <c:v>J&amp;J Neutrogena Sunscreen Adults Derma Crema 50 120Ml</c:v>
                </c:pt>
                <c:pt idx="11">
                  <c:v>J&amp;J Neutrogena Sunscreen Adults Derma Crema 50 40Ml</c:v>
                </c:pt>
                <c:pt idx="12">
                  <c:v>nan</c:v>
                </c:pt>
                <c:pt idx="13">
                  <c:v>Beiersdorf Nivea Sunscreen Adults Cosmetics Crema 50 50Ml</c:v>
                </c:pt>
                <c:pt idx="14">
                  <c:v>Beiersdorf Nivea Sunscreen Adults Cosmetics Crema 50+ 200Ml</c:v>
                </c:pt>
                <c:pt idx="15">
                  <c:v>Beiersdorf Nivea Sunscreen Adults Cosmetics Crema 50+ 40Ml</c:v>
                </c:pt>
                <c:pt idx="16">
                  <c:v>Beiersdorf Nivea Sunscreen Adults Cosmetics Crema 50+ 50Ml</c:v>
                </c:pt>
                <c:pt idx="17">
                  <c:v>Beiersdorf Nivea Sunscreen Adults Cosmetics Crema 30 - 49 200Ml</c:v>
                </c:pt>
              </c:strCache>
            </c:strRef>
          </c:cat>
          <c:val>
            <c:numRef>
              <c:f>Sheet1!$B$2:$B$19</c:f>
              <c:numCache>
                <c:formatCode>General</c:formatCode>
                <c:ptCount val="18"/>
                <c:pt idx="0">
                  <c:v>303.99</c:v>
                </c:pt>
                <c:pt idx="1">
                  <c:v>290.72</c:v>
                </c:pt>
                <c:pt idx="2">
                  <c:v>311.72</c:v>
                </c:pt>
                <c:pt idx="3">
                  <c:v>276.37</c:v>
                </c:pt>
                <c:pt idx="4">
                  <c:v>271.49</c:v>
                </c:pt>
                <c:pt idx="5">
                  <c:v>635.1</c:v>
                </c:pt>
                <c:pt idx="6">
                  <c:v>641.3</c:v>
                </c:pt>
                <c:pt idx="7">
                  <c:v>647.62</c:v>
                </c:pt>
                <c:pt idx="8">
                  <c:v>376.71</c:v>
                </c:pt>
                <c:pt idx="9">
                  <c:v>340.62</c:v>
                </c:pt>
                <c:pt idx="10">
                  <c:v>263.06</c:v>
                </c:pt>
                <c:pt idx="11">
                  <c:v>459.33</c:v>
                </c:pt>
                <c:pt idx="12">
                  <c:v>592.81</c:v>
                </c:pt>
                <c:pt idx="13">
                  <c:v>281.56</c:v>
                </c:pt>
                <c:pt idx="14">
                  <c:v>316.47</c:v>
                </c:pt>
                <c:pt idx="15">
                  <c:v>281.02</c:v>
                </c:pt>
                <c:pt idx="16">
                  <c:v>262.13</c:v>
                </c:pt>
                <c:pt idx="17">
                  <c:v>305.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32</a:t>
                    </a:r>
                  </a:p>
                </c:rich>
              </c:tx>
              <c:showLegendKey val="0"/>
              <c:showVal val="1"/>
              <c:showCatName val="0"/>
              <c:showSerName val="0"/>
              <c:showPercent val="0"/>
              <c:showBubbleSize val="0"/>
            </c:dLbl>
            <c:dLbl>
              <c:idx val="1"/>
              <c:tx>
                <c:rich>
                  <a:bodyPr/>
                  <a:lstStyle/>
                  <a:p>
                    <a:r>
                      <a:t>629.46</a:t>
                    </a:r>
                  </a:p>
                </c:rich>
              </c:tx>
              <c:showLegendKey val="0"/>
              <c:showVal val="1"/>
              <c:showCatName val="0"/>
              <c:showSerName val="0"/>
              <c:showPercent val="0"/>
              <c:showBubbleSize val="0"/>
            </c:dLbl>
            <c:dLbl>
              <c:idx val="2"/>
              <c:tx>
                <c:rich>
                  <a:bodyPr/>
                  <a:lstStyle/>
                  <a:p>
                    <a:r>
                      <a:t>648.86</a:t>
                    </a:r>
                  </a:p>
                </c:rich>
              </c:tx>
              <c:showLegendKey val="0"/>
              <c:showVal val="1"/>
              <c:showCatName val="0"/>
              <c:showSerName val="0"/>
              <c:showPercent val="0"/>
              <c:showBubbleSize val="0"/>
            </c:dLbl>
            <c:dLbl>
              <c:idx val="3"/>
              <c:tx>
                <c:rich>
                  <a:bodyPr/>
                  <a:lstStyle/>
                  <a:p>
                    <a:r>
                      <a:t>754.87</a:t>
                    </a:r>
                  </a:p>
                </c:rich>
              </c:tx>
              <c:showLegendKey val="0"/>
              <c:showVal val="1"/>
              <c:showCatName val="0"/>
              <c:showSerName val="0"/>
              <c:showPercent val="0"/>
              <c:showBubbleSize val="0"/>
            </c:dLbl>
            <c:dLbl>
              <c:idx val="4"/>
              <c:tx>
                <c:rich>
                  <a:bodyPr/>
                  <a:lstStyle/>
                  <a:p>
                    <a:r>
                      <a:t>837.7</a:t>
                    </a:r>
                  </a:p>
                </c:rich>
              </c:tx>
              <c:showLegendKey val="0"/>
              <c:showVal val="1"/>
              <c:showCatName val="0"/>
              <c:showSerName val="0"/>
              <c:showPercent val="0"/>
              <c:showBubbleSize val="0"/>
            </c:dLbl>
            <c:dLbl>
              <c:idx val="5"/>
              <c:tx>
                <c:rich>
                  <a:bodyPr/>
                  <a:lstStyle/>
                  <a:p>
                    <a:r>
                      <a:t>636.5</a:t>
                    </a:r>
                  </a:p>
                </c:rich>
              </c:tx>
              <c:showLegendKey val="0"/>
              <c:showVal val="1"/>
              <c:showCatName val="0"/>
              <c:showSerName val="0"/>
              <c:showPercent val="0"/>
              <c:showBubbleSize val="0"/>
            </c:dLbl>
            <c:dLbl>
              <c:idx val="6"/>
              <c:tx>
                <c:rich>
                  <a:bodyPr/>
                  <a:lstStyle/>
                  <a:p>
                    <a:r>
                      <a:t>728.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L'Oreal La Roche-Posay Sunscreen Adults Derma Fluido 50+ 50Ml</c:v>
                </c:pt>
                <c:pt idx="2">
                  <c:v>Isdin Isdin Sunscreen Adults Derma Fluido 50+ 50Ml</c:v>
                </c:pt>
                <c:pt idx="3">
                  <c:v>Pierre Fabre Avene Sunscreen Adults Derma Fluido 50+ 50Ml</c:v>
                </c:pt>
                <c:pt idx="4">
                  <c:v>Pierre Fabre Avene Sunscreen Adults Derma Fluido 50+ 40Ml</c:v>
                </c:pt>
                <c:pt idx="5">
                  <c:v>Isdin Isdin Sunscreen Baby Derma Fluido 50 50Ml</c:v>
                </c:pt>
                <c:pt idx="6">
                  <c:v>L'Oreal La Roche-Posay Sunscreen Kids Derma Fluido 50+ 50Ml</c:v>
                </c:pt>
              </c:strCache>
            </c:strRef>
          </c:cat>
          <c:val>
            <c:numRef>
              <c:f>Sheet1!$B$2:$B$8</c:f>
              <c:numCache>
                <c:formatCode>General</c:formatCode>
                <c:ptCount val="7"/>
                <c:pt idx="0">
                  <c:v>295.32</c:v>
                </c:pt>
                <c:pt idx="1">
                  <c:v>629.46</c:v>
                </c:pt>
                <c:pt idx="2">
                  <c:v>648.86</c:v>
                </c:pt>
                <c:pt idx="3">
                  <c:v>754.87</c:v>
                </c:pt>
                <c:pt idx="4">
                  <c:v>837.7</c:v>
                </c:pt>
                <c:pt idx="5">
                  <c:v>636.5</c:v>
                </c:pt>
                <c:pt idx="6">
                  <c:v>728.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84</a:t>
                    </a:r>
                  </a:p>
                </c:rich>
              </c:tx>
              <c:showLegendKey val="0"/>
              <c:showVal val="1"/>
              <c:showCatName val="0"/>
              <c:showSerName val="0"/>
              <c:showPercent val="0"/>
              <c:showBubbleSize val="0"/>
            </c:dLbl>
            <c:dLbl>
              <c:idx val="1"/>
              <c:tx>
                <c:rich>
                  <a:bodyPr/>
                  <a:lstStyle/>
                  <a:p>
                    <a:r>
                      <a:t>308.69</a:t>
                    </a:r>
                  </a:p>
                </c:rich>
              </c:tx>
              <c:showLegendKey val="0"/>
              <c:showVal val="1"/>
              <c:showCatName val="0"/>
              <c:showSerName val="0"/>
              <c:showPercent val="0"/>
              <c:showBubbleSize val="0"/>
            </c:dLbl>
            <c:dLbl>
              <c:idx val="2"/>
              <c:tx>
                <c:rich>
                  <a:bodyPr/>
                  <a:lstStyle/>
                  <a:p>
                    <a:r>
                      <a:t>334.03</a:t>
                    </a:r>
                  </a:p>
                </c:rich>
              </c:tx>
              <c:showLegendKey val="0"/>
              <c:showVal val="1"/>
              <c:showCatName val="0"/>
              <c:showSerName val="0"/>
              <c:showPercent val="0"/>
              <c:showBubbleSize val="0"/>
            </c:dLbl>
            <c:dLbl>
              <c:idx val="3"/>
              <c:tx>
                <c:rich>
                  <a:bodyPr/>
                  <a:lstStyle/>
                  <a:p>
                    <a:r>
                      <a:t>327.07</a:t>
                    </a:r>
                  </a:p>
                </c:rich>
              </c:tx>
              <c:showLegendKey val="0"/>
              <c:showVal val="1"/>
              <c:showCatName val="0"/>
              <c:showSerName val="0"/>
              <c:showPercent val="0"/>
              <c:showBubbleSize val="0"/>
            </c:dLbl>
            <c:dLbl>
              <c:idx val="4"/>
              <c:tx>
                <c:rich>
                  <a:bodyPr/>
                  <a:lstStyle/>
                  <a:p>
                    <a:r>
                      <a:t>102.57</a:t>
                    </a:r>
                  </a:p>
                </c:rich>
              </c:tx>
              <c:showLegendKey val="0"/>
              <c:showVal val="1"/>
              <c:showCatName val="0"/>
              <c:showSerName val="0"/>
              <c:showPercent val="0"/>
              <c:showBubbleSize val="0"/>
            </c:dLbl>
            <c:dLbl>
              <c:idx val="5"/>
              <c:tx>
                <c:rich>
                  <a:bodyPr/>
                  <a:lstStyle/>
                  <a:p>
                    <a:r>
                      <a:t>308.62</a:t>
                    </a:r>
                  </a:p>
                </c:rich>
              </c:tx>
              <c:showLegendKey val="0"/>
              <c:showVal val="1"/>
              <c:showCatName val="0"/>
              <c:showSerName val="0"/>
              <c:showPercent val="0"/>
              <c:showBubbleSize val="0"/>
            </c:dLbl>
            <c:dLbl>
              <c:idx val="6"/>
              <c:tx>
                <c:rich>
                  <a:bodyPr/>
                  <a:lstStyle/>
                  <a:p>
                    <a:r>
                      <a:t>312.72</a:t>
                    </a:r>
                  </a:p>
                </c:rich>
              </c:tx>
              <c:showLegendKey val="0"/>
              <c:showVal val="1"/>
              <c:showCatName val="0"/>
              <c:showSerName val="0"/>
              <c:showPercent val="0"/>
              <c:showBubbleSize val="0"/>
            </c:dLbl>
            <c:dLbl>
              <c:idx val="7"/>
              <c:tx>
                <c:rich>
                  <a:bodyPr/>
                  <a:lstStyle/>
                  <a:p>
                    <a:r>
                      <a:t>186.09</a:t>
                    </a:r>
                  </a:p>
                </c:rich>
              </c:tx>
              <c:showLegendKey val="0"/>
              <c:showVal val="1"/>
              <c:showCatName val="0"/>
              <c:showSerName val="0"/>
              <c:showPercent val="0"/>
              <c:showBubbleSize val="0"/>
            </c:dLbl>
            <c:dLbl>
              <c:idx val="8"/>
              <c:tx>
                <c:rich>
                  <a:bodyPr/>
                  <a:lstStyle/>
                  <a:p>
                    <a:r>
                      <a:t>340.1</a:t>
                    </a:r>
                  </a:p>
                </c:rich>
              </c:tx>
              <c:showLegendKey val="0"/>
              <c:showVal val="1"/>
              <c:showCatName val="0"/>
              <c:showSerName val="0"/>
              <c:showPercent val="0"/>
              <c:showBubbleSize val="0"/>
            </c:dLbl>
            <c:dLbl>
              <c:idx val="9"/>
              <c:tx>
                <c:rich>
                  <a:bodyPr/>
                  <a:lstStyle/>
                  <a:p>
                    <a:r>
                      <a:t>298.77</a:t>
                    </a:r>
                  </a:p>
                </c:rich>
              </c:tx>
              <c:showLegendKey val="0"/>
              <c:showVal val="1"/>
              <c:showCatName val="0"/>
              <c:showSerName val="0"/>
              <c:showPercent val="0"/>
              <c:showBubbleSize val="0"/>
            </c:dLbl>
            <c:dLbl>
              <c:idx val="10"/>
              <c:tx>
                <c:rich>
                  <a:bodyPr/>
                  <a:lstStyle/>
                  <a:p>
                    <a:r>
                      <a:t>405.17</a:t>
                    </a:r>
                  </a:p>
                </c:rich>
              </c:tx>
              <c:showLegendKey val="0"/>
              <c:showVal val="1"/>
              <c:showCatName val="0"/>
              <c:showSerName val="0"/>
              <c:showPercent val="0"/>
              <c:showBubbleSize val="0"/>
            </c:dLbl>
            <c:dLbl>
              <c:idx val="11"/>
              <c:tx>
                <c:rich>
                  <a:bodyPr/>
                  <a:lstStyle/>
                  <a:p>
                    <a:r>
                      <a:t>1206.0</a:t>
                    </a:r>
                  </a:p>
                </c:rich>
              </c:tx>
              <c:showLegendKey val="0"/>
              <c:showVal val="1"/>
              <c:showCatName val="0"/>
              <c:showSerName val="0"/>
              <c:showPercent val="0"/>
              <c:showBubbleSize val="0"/>
            </c:dLbl>
            <c:dLbl>
              <c:idx val="12"/>
              <c:tx>
                <c:rich>
                  <a:bodyPr/>
                  <a:lstStyle/>
                  <a:p>
                    <a:r>
                      <a:t>676.58</a:t>
                    </a:r>
                  </a:p>
                </c:rich>
              </c:tx>
              <c:showLegendKey val="0"/>
              <c:showVal val="1"/>
              <c:showCatName val="0"/>
              <c:showSerName val="0"/>
              <c:showPercent val="0"/>
              <c:showBubbleSize val="0"/>
            </c:dLbl>
            <c:dLbl>
              <c:idx val="13"/>
              <c:tx>
                <c:rich>
                  <a:bodyPr/>
                  <a:lstStyle/>
                  <a:p>
                    <a:r>
                      <a:t>614.99</a:t>
                    </a:r>
                  </a:p>
                </c:rich>
              </c:tx>
              <c:showLegendKey val="0"/>
              <c:showVal val="1"/>
              <c:showCatName val="0"/>
              <c:showSerName val="0"/>
              <c:showPercent val="0"/>
              <c:showBubbleSize val="0"/>
            </c:dLbl>
            <c:dLbl>
              <c:idx val="14"/>
              <c:tx>
                <c:rich>
                  <a:bodyPr/>
                  <a:lstStyle/>
                  <a:p>
                    <a:r>
                      <a:t>289.05</a:t>
                    </a:r>
                  </a:p>
                </c:rich>
              </c:tx>
              <c:showLegendKey val="0"/>
              <c:showVal val="1"/>
              <c:showCatName val="0"/>
              <c:showSerName val="0"/>
              <c:showPercent val="0"/>
              <c:showBubbleSize val="0"/>
            </c:dLbl>
            <c:dLbl>
              <c:idx val="15"/>
              <c:tx>
                <c:rich>
                  <a:bodyPr/>
                  <a:lstStyle/>
                  <a:p>
                    <a:r>
                      <a:t>59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Hawaiian Tropic Ozono Sunscreen Adults Cosmetics Liquido 50+ 240Ml</c:v>
                </c:pt>
                <c:pt idx="1">
                  <c:v>Edgewell Hawaiian Tropic Island Sport Sunscreen Adults Sport Liquido 50 240Ml</c:v>
                </c:pt>
                <c:pt idx="2">
                  <c:v>Edgewell Hawaiian Tropic Island Sport Sunscreen Adults Sport Spray Liquido 50 220Ml</c:v>
                </c:pt>
                <c:pt idx="3">
                  <c:v>Edgewell Hawaiian Tropic Ozono Sunscreen Adults Cosmetics Spray Liquido 50+ 180Ml</c:v>
                </c:pt>
                <c:pt idx="4">
                  <c:v>Edgewell Hawaiian Tropic Ozono Sunscreen Adults Cosmetics Liquido 50+ 90Ml</c:v>
                </c:pt>
                <c:pt idx="5">
                  <c:v>L'Oreal Loreal Paris Sunscreen Adults Derma Liquido 50+ 40Ml</c:v>
                </c:pt>
                <c:pt idx="6">
                  <c:v>Beiersdorf Nivea Sunscreen Adults Cosmetics Liquido 50 200Ml</c:v>
                </c:pt>
                <c:pt idx="7">
                  <c:v>Beiersdorf Nivea Sunscreen Adults Cosmetics Liquido 50+ 125Ml</c:v>
                </c:pt>
                <c:pt idx="8">
                  <c:v>Beiersdorf Nivea Sunscreen Adults Cosmetics Spray Liquido 50 200Ml</c:v>
                </c:pt>
                <c:pt idx="9">
                  <c:v>Beiersdorf Nivea Sunscreen Kids Cosmetics Liquido 50+ 200Ml</c:v>
                </c:pt>
                <c:pt idx="10">
                  <c:v>Beiersdorf Nivea Sunscreen Kids Cosmetics Spray Liquido 50+ 200Ml</c:v>
                </c:pt>
                <c:pt idx="11">
                  <c:v>Others Fabricante Unif. Others Marca Unif. Sunscreen Adults Cosmetics Liquido 30 - 49 50Ml</c:v>
                </c:pt>
                <c:pt idx="12">
                  <c:v>Others Fabricante Unif. Others Marca Unif. Sunscreen Adults Derma Spray Liquido 50+ 120Ml</c:v>
                </c:pt>
                <c:pt idx="13">
                  <c:v>Others Fabricante Unif. Others Marca Unif. Sunscreen Adults Derma Liquido 50+ 50Ml</c:v>
                </c:pt>
                <c:pt idx="14">
                  <c:v>Others Fabricante Unif. Others Marca Unif. Sunscreen Adults Cosmetics Spray Liquido 50 200Ml</c:v>
                </c:pt>
                <c:pt idx="15">
                  <c:v>Others Fabricante Unif. Others Marca Unif. Sunscreen Adults Derma Spray Liquido 50+ 200Ml</c:v>
                </c:pt>
              </c:strCache>
            </c:strRef>
          </c:cat>
          <c:val>
            <c:numRef>
              <c:f>Sheet1!$B$2:$B$17</c:f>
              <c:numCache>
                <c:formatCode>General</c:formatCode>
                <c:ptCount val="16"/>
                <c:pt idx="0">
                  <c:v>306.84</c:v>
                </c:pt>
                <c:pt idx="1">
                  <c:v>308.69</c:v>
                </c:pt>
                <c:pt idx="2">
                  <c:v>334.03</c:v>
                </c:pt>
                <c:pt idx="3">
                  <c:v>327.07</c:v>
                </c:pt>
                <c:pt idx="4">
                  <c:v>102.57</c:v>
                </c:pt>
                <c:pt idx="5">
                  <c:v>308.62</c:v>
                </c:pt>
                <c:pt idx="6">
                  <c:v>312.72</c:v>
                </c:pt>
                <c:pt idx="7">
                  <c:v>186.09</c:v>
                </c:pt>
                <c:pt idx="8">
                  <c:v>340.1</c:v>
                </c:pt>
                <c:pt idx="9">
                  <c:v>298.77</c:v>
                </c:pt>
                <c:pt idx="10">
                  <c:v>405.17</c:v>
                </c:pt>
                <c:pt idx="11">
                  <c:v>1206.0</c:v>
                </c:pt>
                <c:pt idx="12">
                  <c:v>676.58</c:v>
                </c:pt>
                <c:pt idx="13">
                  <c:v>614.99</c:v>
                </c:pt>
                <c:pt idx="14">
                  <c:v>289.05</c:v>
                </c:pt>
                <c:pt idx="15">
                  <c:v>59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6.05</a:t>
                    </a:r>
                  </a:p>
                </c:rich>
              </c:tx>
              <c:showLegendKey val="0"/>
              <c:showVal val="1"/>
              <c:showCatName val="0"/>
              <c:showSerName val="0"/>
              <c:showPercent val="0"/>
              <c:showBubbleSize val="0"/>
            </c:dLbl>
            <c:dLbl>
              <c:idx val="1"/>
              <c:tx>
                <c:rich>
                  <a:bodyPr/>
                  <a:lstStyle/>
                  <a:p>
                    <a:r>
                      <a:t>310.2</a:t>
                    </a:r>
                  </a:p>
                </c:rich>
              </c:tx>
              <c:showLegendKey val="0"/>
              <c:showVal val="1"/>
              <c:showCatName val="0"/>
              <c:showSerName val="0"/>
              <c:showPercent val="0"/>
              <c:showBubbleSize val="0"/>
            </c:dLbl>
            <c:dLbl>
              <c:idx val="2"/>
              <c:tx>
                <c:rich>
                  <a:bodyPr/>
                  <a:lstStyle/>
                  <a:p>
                    <a:r>
                      <a:t>317.39</a:t>
                    </a:r>
                  </a:p>
                </c:rich>
              </c:tx>
              <c:showLegendKey val="0"/>
              <c:showVal val="1"/>
              <c:showCatName val="0"/>
              <c:showSerName val="0"/>
              <c:showPercent val="0"/>
              <c:showBubbleSize val="0"/>
            </c:dLbl>
            <c:dLbl>
              <c:idx val="3"/>
              <c:tx>
                <c:rich>
                  <a:bodyPr/>
                  <a:lstStyle/>
                  <a:p>
                    <a:r>
                      <a:t>88.43</a:t>
                    </a:r>
                  </a:p>
                </c:rich>
              </c:tx>
              <c:showLegendKey val="0"/>
              <c:showVal val="1"/>
              <c:showCatName val="0"/>
              <c:showSerName val="0"/>
              <c:showPercent val="0"/>
              <c:showBubbleSize val="0"/>
            </c:dLbl>
            <c:dLbl>
              <c:idx val="4"/>
              <c:tx>
                <c:rich>
                  <a:bodyPr/>
                  <a:lstStyle/>
                  <a:p>
                    <a:r>
                      <a:t>254.68</a:t>
                    </a:r>
                  </a:p>
                </c:rich>
              </c:tx>
              <c:showLegendKey val="0"/>
              <c:showVal val="1"/>
              <c:showCatName val="0"/>
              <c:showSerName val="0"/>
              <c:showPercent val="0"/>
              <c:showBubbleSize val="0"/>
            </c:dLbl>
            <c:dLbl>
              <c:idx val="5"/>
              <c:tx>
                <c:rich>
                  <a:bodyPr/>
                  <a:lstStyle/>
                  <a:p>
                    <a:r>
                      <a:t>308.62</a:t>
                    </a:r>
                  </a:p>
                </c:rich>
              </c:tx>
              <c:showLegendKey val="0"/>
              <c:showVal val="1"/>
              <c:showCatName val="0"/>
              <c:showSerName val="0"/>
              <c:showPercent val="0"/>
              <c:showBubbleSize val="0"/>
            </c:dLbl>
            <c:dLbl>
              <c:idx val="6"/>
              <c:tx>
                <c:rich>
                  <a:bodyPr/>
                  <a:lstStyle/>
                  <a:p>
                    <a:r>
                      <a:t>312.72</a:t>
                    </a:r>
                  </a:p>
                </c:rich>
              </c:tx>
              <c:showLegendKey val="0"/>
              <c:showVal val="1"/>
              <c:showCatName val="0"/>
              <c:showSerName val="0"/>
              <c:showPercent val="0"/>
              <c:showBubbleSize val="0"/>
            </c:dLbl>
            <c:dLbl>
              <c:idx val="7"/>
              <c:tx>
                <c:rich>
                  <a:bodyPr/>
                  <a:lstStyle/>
                  <a:p>
                    <a:r>
                      <a:t>186.09</a:t>
                    </a:r>
                  </a:p>
                </c:rich>
              </c:tx>
              <c:showLegendKey val="0"/>
              <c:showVal val="1"/>
              <c:showCatName val="0"/>
              <c:showSerName val="0"/>
              <c:showPercent val="0"/>
              <c:showBubbleSize val="0"/>
            </c:dLbl>
            <c:dLbl>
              <c:idx val="8"/>
              <c:tx>
                <c:rich>
                  <a:bodyPr/>
                  <a:lstStyle/>
                  <a:p>
                    <a:r>
                      <a:t>340.1</a:t>
                    </a:r>
                  </a:p>
                </c:rich>
              </c:tx>
              <c:showLegendKey val="0"/>
              <c:showVal val="1"/>
              <c:showCatName val="0"/>
              <c:showSerName val="0"/>
              <c:showPercent val="0"/>
              <c:showBubbleSize val="0"/>
            </c:dLbl>
            <c:dLbl>
              <c:idx val="9"/>
              <c:tx>
                <c:rich>
                  <a:bodyPr/>
                  <a:lstStyle/>
                  <a:p>
                    <a:r>
                      <a:t>298.77</a:t>
                    </a:r>
                  </a:p>
                </c:rich>
              </c:tx>
              <c:showLegendKey val="0"/>
              <c:showVal val="1"/>
              <c:showCatName val="0"/>
              <c:showSerName val="0"/>
              <c:showPercent val="0"/>
              <c:showBubbleSize val="0"/>
            </c:dLbl>
            <c:dLbl>
              <c:idx val="10"/>
              <c:tx>
                <c:rich>
                  <a:bodyPr/>
                  <a:lstStyle/>
                  <a:p>
                    <a:r>
                      <a:t>405.17</a:t>
                    </a:r>
                  </a:p>
                </c:rich>
              </c:tx>
              <c:showLegendKey val="0"/>
              <c:showVal val="1"/>
              <c:showCatName val="0"/>
              <c:showSerName val="0"/>
              <c:showPercent val="0"/>
              <c:showBubbleSize val="0"/>
            </c:dLbl>
            <c:dLbl>
              <c:idx val="11"/>
              <c:tx>
                <c:rich>
                  <a:bodyPr/>
                  <a:lstStyle/>
                  <a:p>
                    <a:r>
                      <a:t>1206.0</a:t>
                    </a:r>
                  </a:p>
                </c:rich>
              </c:tx>
              <c:showLegendKey val="0"/>
              <c:showVal val="1"/>
              <c:showCatName val="0"/>
              <c:showSerName val="0"/>
              <c:showPercent val="0"/>
              <c:showBubbleSize val="0"/>
            </c:dLbl>
            <c:dLbl>
              <c:idx val="12"/>
              <c:tx>
                <c:rich>
                  <a:bodyPr/>
                  <a:lstStyle/>
                  <a:p>
                    <a:r>
                      <a:t>676.58</a:t>
                    </a:r>
                  </a:p>
                </c:rich>
              </c:tx>
              <c:showLegendKey val="0"/>
              <c:showVal val="1"/>
              <c:showCatName val="0"/>
              <c:showSerName val="0"/>
              <c:showPercent val="0"/>
              <c:showBubbleSize val="0"/>
            </c:dLbl>
            <c:dLbl>
              <c:idx val="13"/>
              <c:tx>
                <c:rich>
                  <a:bodyPr/>
                  <a:lstStyle/>
                  <a:p>
                    <a:r>
                      <a:t>614.99</a:t>
                    </a:r>
                  </a:p>
                </c:rich>
              </c:tx>
              <c:showLegendKey val="0"/>
              <c:showVal val="1"/>
              <c:showCatName val="0"/>
              <c:showSerName val="0"/>
              <c:showPercent val="0"/>
              <c:showBubbleSize val="0"/>
            </c:dLbl>
            <c:dLbl>
              <c:idx val="14"/>
              <c:tx>
                <c:rich>
                  <a:bodyPr/>
                  <a:lstStyle/>
                  <a:p>
                    <a:r>
                      <a:t>289.05</a:t>
                    </a:r>
                  </a:p>
                </c:rich>
              </c:tx>
              <c:showLegendKey val="0"/>
              <c:showVal val="1"/>
              <c:showCatName val="0"/>
              <c:showSerName val="0"/>
              <c:showPercent val="0"/>
              <c:showBubbleSize val="0"/>
            </c:dLbl>
            <c:dLbl>
              <c:idx val="15"/>
              <c:tx>
                <c:rich>
                  <a:bodyPr/>
                  <a:lstStyle/>
                  <a:p>
                    <a:r>
                      <a:t>59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anana Boat Dry Balance Sunscreen Adults Sport Spray Liquido 50 220Ml</c:v>
                </c:pt>
                <c:pt idx="1">
                  <c:v>Edgewell Banana Boat Advanced Protection Sunscreen Adults Cosmetics Liquido 50+ 240Ml</c:v>
                </c:pt>
                <c:pt idx="2">
                  <c:v>Edgewell Banana Boat Aqua Protect Sunscreen Adults Cosmetics Spray Liquido 50+ 170Ml</c:v>
                </c:pt>
                <c:pt idx="3">
                  <c:v>Edgewell Banana Boat Advanced Protection Sunscreen Adults Cosmetics Liquido 50+ 60Ml</c:v>
                </c:pt>
                <c:pt idx="4">
                  <c:v>Edgewell Banana Boat Advanced Protection Sunscreen Adults Cosmetics Liquido 50 180Ml</c:v>
                </c:pt>
                <c:pt idx="5">
                  <c:v>L'Oreal Loreal Paris Sunscreen Adults Derma Liquido 50+ 40Ml</c:v>
                </c:pt>
                <c:pt idx="6">
                  <c:v>Beiersdorf Nivea Sunscreen Adults Cosmetics Liquido 50 200Ml</c:v>
                </c:pt>
                <c:pt idx="7">
                  <c:v>Beiersdorf Nivea Sunscreen Adults Cosmetics Liquido 50+ 125Ml</c:v>
                </c:pt>
                <c:pt idx="8">
                  <c:v>Beiersdorf Nivea Sunscreen Adults Cosmetics Spray Liquido 50 200Ml</c:v>
                </c:pt>
                <c:pt idx="9">
                  <c:v>Beiersdorf Nivea Sunscreen Kids Cosmetics Liquido 50+ 200Ml</c:v>
                </c:pt>
                <c:pt idx="10">
                  <c:v>Beiersdorf Nivea Sunscreen Kids Cosmetics Spray Liquido 50+ 200Ml</c:v>
                </c:pt>
                <c:pt idx="11">
                  <c:v>Others Fabricante Unif. Others Marca Unif. Sunscreen Adults Cosmetics Liquido 30 - 49 50Ml</c:v>
                </c:pt>
                <c:pt idx="12">
                  <c:v>Others Fabricante Unif. Others Marca Unif. Sunscreen Adults Derma Spray Liquido 50+ 120Ml</c:v>
                </c:pt>
                <c:pt idx="13">
                  <c:v>Others Fabricante Unif. Others Marca Unif. Sunscreen Adults Derma Liquido 50+ 50Ml</c:v>
                </c:pt>
                <c:pt idx="14">
                  <c:v>Others Fabricante Unif. Others Marca Unif. Sunscreen Adults Cosmetics Spray Liquido 50 200Ml</c:v>
                </c:pt>
                <c:pt idx="15">
                  <c:v>Others Fabricante Unif. Others Marca Unif. Sunscreen Adults Derma Spray Liquido 50+ 200Ml</c:v>
                </c:pt>
              </c:strCache>
            </c:strRef>
          </c:cat>
          <c:val>
            <c:numRef>
              <c:f>Sheet1!$B$2:$B$17</c:f>
              <c:numCache>
                <c:formatCode>General</c:formatCode>
                <c:ptCount val="16"/>
                <c:pt idx="0">
                  <c:v>316.05</c:v>
                </c:pt>
                <c:pt idx="1">
                  <c:v>310.2</c:v>
                </c:pt>
                <c:pt idx="2">
                  <c:v>317.39</c:v>
                </c:pt>
                <c:pt idx="3">
                  <c:v>88.43</c:v>
                </c:pt>
                <c:pt idx="4">
                  <c:v>254.68</c:v>
                </c:pt>
                <c:pt idx="5">
                  <c:v>308.62</c:v>
                </c:pt>
                <c:pt idx="6">
                  <c:v>312.72</c:v>
                </c:pt>
                <c:pt idx="7">
                  <c:v>186.09</c:v>
                </c:pt>
                <c:pt idx="8">
                  <c:v>340.1</c:v>
                </c:pt>
                <c:pt idx="9">
                  <c:v>298.77</c:v>
                </c:pt>
                <c:pt idx="10">
                  <c:v>405.17</c:v>
                </c:pt>
                <c:pt idx="11">
                  <c:v>1206.0</c:v>
                </c:pt>
                <c:pt idx="12">
                  <c:v>676.58</c:v>
                </c:pt>
                <c:pt idx="13">
                  <c:v>614.99</c:v>
                </c:pt>
                <c:pt idx="14">
                  <c:v>289.05</c:v>
                </c:pt>
                <c:pt idx="15">
                  <c:v>59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showLegendKey val="0"/>
              <c:showVal val="1"/>
              <c:showCatName val="0"/>
              <c:showSerName val="0"/>
              <c:showPercent val="0"/>
              <c:showBubbleSize val="0"/>
            </c:dLbl>
            <c:dLbl>
              <c:idx val="1"/>
              <c:tx>
                <c:rich>
                  <a:bodyPr/>
                  <a:lstStyle/>
                  <a:p>
                    <a:r>
                      <a:t>282.37</a:t>
                    </a:r>
                  </a:p>
                </c:rich>
              </c:tx>
              <c:showLegendKey val="0"/>
              <c:showVal val="1"/>
              <c:showCatName val="0"/>
              <c:showSerName val="0"/>
              <c:showPercent val="0"/>
              <c:showBubbleSize val="0"/>
            </c:dLbl>
            <c:dLbl>
              <c:idx val="2"/>
              <c:tx>
                <c:rich>
                  <a:bodyPr/>
                  <a:lstStyle/>
                  <a:p>
                    <a:r>
                      <a:t>258.13</a:t>
                    </a:r>
                  </a:p>
                </c:rich>
              </c:tx>
              <c:showLegendKey val="0"/>
              <c:showVal val="1"/>
              <c:showCatName val="0"/>
              <c:showSerName val="0"/>
              <c:showPercent val="0"/>
              <c:showBubbleSize val="0"/>
            </c:dLbl>
            <c:dLbl>
              <c:idx val="3"/>
              <c:tx>
                <c:rich>
                  <a:bodyPr/>
                  <a:lstStyle/>
                  <a:p>
                    <a:r>
                      <a:t>242.37</a:t>
                    </a:r>
                  </a:p>
                </c:rich>
              </c:tx>
              <c:showLegendKey val="0"/>
              <c:showVal val="1"/>
              <c:showCatName val="0"/>
              <c:showSerName val="0"/>
              <c:showPercent val="0"/>
              <c:showBubbleSize val="0"/>
            </c:dLbl>
            <c:dLbl>
              <c:idx val="4"/>
              <c:tx>
                <c:rich>
                  <a:bodyPr/>
                  <a:lstStyle/>
                  <a:p>
                    <a:r>
                      <a:t>400.18</a:t>
                    </a:r>
                  </a:p>
                </c:rich>
              </c:tx>
              <c:showLegendKey val="0"/>
              <c:showVal val="1"/>
              <c:showCatName val="0"/>
              <c:showSerName val="0"/>
              <c:showPercent val="0"/>
              <c:showBubbleSize val="0"/>
            </c:dLbl>
            <c:dLbl>
              <c:idx val="5"/>
              <c:tx>
                <c:rich>
                  <a:bodyPr/>
                  <a:lstStyle/>
                  <a:p>
                    <a:r>
                      <a:t>308.62</a:t>
                    </a:r>
                  </a:p>
                </c:rich>
              </c:tx>
              <c:showLegendKey val="0"/>
              <c:showVal val="1"/>
              <c:showCatName val="0"/>
              <c:showSerName val="0"/>
              <c:showPercent val="0"/>
              <c:showBubbleSize val="0"/>
            </c:dLbl>
            <c:dLbl>
              <c:idx val="6"/>
              <c:tx>
                <c:rich>
                  <a:bodyPr/>
                  <a:lstStyle/>
                  <a:p>
                    <a:r>
                      <a:t>312.72</a:t>
                    </a:r>
                  </a:p>
                </c:rich>
              </c:tx>
              <c:showLegendKey val="0"/>
              <c:showVal val="1"/>
              <c:showCatName val="0"/>
              <c:showSerName val="0"/>
              <c:showPercent val="0"/>
              <c:showBubbleSize val="0"/>
            </c:dLbl>
            <c:dLbl>
              <c:idx val="7"/>
              <c:tx>
                <c:rich>
                  <a:bodyPr/>
                  <a:lstStyle/>
                  <a:p>
                    <a:r>
                      <a:t>186.09</a:t>
                    </a:r>
                  </a:p>
                </c:rich>
              </c:tx>
              <c:showLegendKey val="0"/>
              <c:showVal val="1"/>
              <c:showCatName val="0"/>
              <c:showSerName val="0"/>
              <c:showPercent val="0"/>
              <c:showBubbleSize val="0"/>
            </c:dLbl>
            <c:dLbl>
              <c:idx val="8"/>
              <c:tx>
                <c:rich>
                  <a:bodyPr/>
                  <a:lstStyle/>
                  <a:p>
                    <a:r>
                      <a:t>340.1</a:t>
                    </a:r>
                  </a:p>
                </c:rich>
              </c:tx>
              <c:showLegendKey val="0"/>
              <c:showVal val="1"/>
              <c:showCatName val="0"/>
              <c:showSerName val="0"/>
              <c:showPercent val="0"/>
              <c:showBubbleSize val="0"/>
            </c:dLbl>
            <c:dLbl>
              <c:idx val="9"/>
              <c:tx>
                <c:rich>
                  <a:bodyPr/>
                  <a:lstStyle/>
                  <a:p>
                    <a:r>
                      <a:t>298.77</a:t>
                    </a:r>
                  </a:p>
                </c:rich>
              </c:tx>
              <c:showLegendKey val="0"/>
              <c:showVal val="1"/>
              <c:showCatName val="0"/>
              <c:showSerName val="0"/>
              <c:showPercent val="0"/>
              <c:showBubbleSize val="0"/>
            </c:dLbl>
            <c:dLbl>
              <c:idx val="10"/>
              <c:tx>
                <c:rich>
                  <a:bodyPr/>
                  <a:lstStyle/>
                  <a:p>
                    <a:r>
                      <a:t>405.17</a:t>
                    </a:r>
                  </a:p>
                </c:rich>
              </c:tx>
              <c:showLegendKey val="0"/>
              <c:showVal val="1"/>
              <c:showCatName val="0"/>
              <c:showSerName val="0"/>
              <c:showPercent val="0"/>
              <c:showBubbleSize val="0"/>
            </c:dLbl>
            <c:dLbl>
              <c:idx val="11"/>
              <c:tx>
                <c:rich>
                  <a:bodyPr/>
                  <a:lstStyle/>
                  <a:p>
                    <a:r>
                      <a:t>1206.0</a:t>
                    </a:r>
                  </a:p>
                </c:rich>
              </c:tx>
              <c:showLegendKey val="0"/>
              <c:showVal val="1"/>
              <c:showCatName val="0"/>
              <c:showSerName val="0"/>
              <c:showPercent val="0"/>
              <c:showBubbleSize val="0"/>
            </c:dLbl>
            <c:dLbl>
              <c:idx val="12"/>
              <c:tx>
                <c:rich>
                  <a:bodyPr/>
                  <a:lstStyle/>
                  <a:p>
                    <a:r>
                      <a:t>676.58</a:t>
                    </a:r>
                  </a:p>
                </c:rich>
              </c:tx>
              <c:showLegendKey val="0"/>
              <c:showVal val="1"/>
              <c:showCatName val="0"/>
              <c:showSerName val="0"/>
              <c:showPercent val="0"/>
              <c:showBubbleSize val="0"/>
            </c:dLbl>
            <c:dLbl>
              <c:idx val="13"/>
              <c:tx>
                <c:rich>
                  <a:bodyPr/>
                  <a:lstStyle/>
                  <a:p>
                    <a:r>
                      <a:t>614.99</a:t>
                    </a:r>
                  </a:p>
                </c:rich>
              </c:tx>
              <c:showLegendKey val="0"/>
              <c:showVal val="1"/>
              <c:showCatName val="0"/>
              <c:showSerName val="0"/>
              <c:showPercent val="0"/>
              <c:showBubbleSize val="0"/>
            </c:dLbl>
            <c:dLbl>
              <c:idx val="14"/>
              <c:tx>
                <c:rich>
                  <a:bodyPr/>
                  <a:lstStyle/>
                  <a:p>
                    <a:r>
                      <a:t>289.05</a:t>
                    </a:r>
                  </a:p>
                </c:rich>
              </c:tx>
              <c:showLegendKey val="0"/>
              <c:showVal val="1"/>
              <c:showCatName val="0"/>
              <c:showSerName val="0"/>
              <c:showPercent val="0"/>
              <c:showBubbleSize val="0"/>
            </c:dLbl>
            <c:dLbl>
              <c:idx val="15"/>
              <c:tx>
                <c:rich>
                  <a:bodyPr/>
                  <a:lstStyle/>
                  <a:p>
                    <a:r>
                      <a:t>59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pt idx="5">
                  <c:v>L'Oreal Loreal Paris Sunscreen Adults Derma Liquido 50+ 40Ml</c:v>
                </c:pt>
                <c:pt idx="6">
                  <c:v>Beiersdorf Nivea Sunscreen Adults Cosmetics Liquido 50 200Ml</c:v>
                </c:pt>
                <c:pt idx="7">
                  <c:v>Beiersdorf Nivea Sunscreen Adults Cosmetics Liquido 50+ 125Ml</c:v>
                </c:pt>
                <c:pt idx="8">
                  <c:v>Beiersdorf Nivea Sunscreen Adults Cosmetics Spray Liquido 50 200Ml</c:v>
                </c:pt>
                <c:pt idx="9">
                  <c:v>Beiersdorf Nivea Sunscreen Kids Cosmetics Liquido 50+ 200Ml</c:v>
                </c:pt>
                <c:pt idx="10">
                  <c:v>Beiersdorf Nivea Sunscreen Kids Cosmetics Spray Liquido 50+ 200Ml</c:v>
                </c:pt>
                <c:pt idx="11">
                  <c:v>Others Fabricante Unif. Others Marca Unif. Sunscreen Adults Cosmetics Liquido 30 - 49 50Ml</c:v>
                </c:pt>
                <c:pt idx="12">
                  <c:v>Others Fabricante Unif. Others Marca Unif. Sunscreen Adults Derma Spray Liquido 50+ 120Ml</c:v>
                </c:pt>
                <c:pt idx="13">
                  <c:v>Others Fabricante Unif. Others Marca Unif. Sunscreen Adults Derma Liquido 50+ 50Ml</c:v>
                </c:pt>
                <c:pt idx="14">
                  <c:v>Others Fabricante Unif. Others Marca Unif. Sunscreen Adults Cosmetics Spray Liquido 50 200Ml</c:v>
                </c:pt>
                <c:pt idx="15">
                  <c:v>Others Fabricante Unif. Others Marca Unif. Sunscreen Adults Derma Spray Liquido 50+ 200Ml</c:v>
                </c:pt>
              </c:strCache>
            </c:strRef>
          </c:cat>
          <c:val>
            <c:numRef>
              <c:f>Sheet1!$B$2:$B$17</c:f>
              <c:numCache>
                <c:formatCode>General</c:formatCode>
                <c:ptCount val="16"/>
                <c:pt idx="0">
                  <c:v>269.3</c:v>
                </c:pt>
                <c:pt idx="1">
                  <c:v>282.37</c:v>
                </c:pt>
                <c:pt idx="2">
                  <c:v>258.13</c:v>
                </c:pt>
                <c:pt idx="3">
                  <c:v>242.37</c:v>
                </c:pt>
                <c:pt idx="4">
                  <c:v>400.18</c:v>
                </c:pt>
                <c:pt idx="5">
                  <c:v>308.62</c:v>
                </c:pt>
                <c:pt idx="6">
                  <c:v>312.72</c:v>
                </c:pt>
                <c:pt idx="7">
                  <c:v>186.09</c:v>
                </c:pt>
                <c:pt idx="8">
                  <c:v>340.1</c:v>
                </c:pt>
                <c:pt idx="9">
                  <c:v>298.77</c:v>
                </c:pt>
                <c:pt idx="10">
                  <c:v>405.17</c:v>
                </c:pt>
                <c:pt idx="11">
                  <c:v>1206.0</c:v>
                </c:pt>
                <c:pt idx="12">
                  <c:v>676.58</c:v>
                </c:pt>
                <c:pt idx="13">
                  <c:v>614.99</c:v>
                </c:pt>
                <c:pt idx="14">
                  <c:v>289.05</c:v>
                </c:pt>
                <c:pt idx="15">
                  <c:v>59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8.04</a:t>
                    </a:r>
                  </a:p>
                </c:rich>
              </c:tx>
              <c:showLegendKey val="0"/>
              <c:showVal val="1"/>
              <c:showCatName val="0"/>
              <c:showSerName val="0"/>
              <c:showPercent val="0"/>
              <c:showBubbleSize val="0"/>
            </c:dLbl>
            <c:dLbl>
              <c:idx val="1"/>
              <c:tx>
                <c:rich>
                  <a:bodyPr/>
                  <a:lstStyle/>
                  <a:p>
                    <a:r>
                      <a:t>269.13</a:t>
                    </a:r>
                  </a:p>
                </c:rich>
              </c:tx>
              <c:showLegendKey val="0"/>
              <c:showVal val="1"/>
              <c:showCatName val="0"/>
              <c:showSerName val="0"/>
              <c:showPercent val="0"/>
              <c:showBubbleSize val="0"/>
            </c:dLbl>
            <c:dLbl>
              <c:idx val="2"/>
              <c:tx>
                <c:rich>
                  <a:bodyPr/>
                  <a:lstStyle/>
                  <a:p>
                    <a:r>
                      <a:t>337.05</a:t>
                    </a:r>
                  </a:p>
                </c:rich>
              </c:tx>
              <c:showLegendKey val="0"/>
              <c:showVal val="1"/>
              <c:showCatName val="0"/>
              <c:showSerName val="0"/>
              <c:showPercent val="0"/>
              <c:showBubbleSize val="0"/>
            </c:dLbl>
            <c:dLbl>
              <c:idx val="3"/>
              <c:tx>
                <c:rich>
                  <a:bodyPr/>
                  <a:lstStyle/>
                  <a:p>
                    <a:r>
                      <a:t>330.28</a:t>
                    </a:r>
                  </a:p>
                </c:rich>
              </c:tx>
              <c:showLegendKey val="0"/>
              <c:showVal val="1"/>
              <c:showCatName val="0"/>
              <c:showSerName val="0"/>
              <c:showPercent val="0"/>
              <c:showBubbleSize val="0"/>
            </c:dLbl>
            <c:dLbl>
              <c:idx val="4"/>
              <c:tx>
                <c:rich>
                  <a:bodyPr/>
                  <a:lstStyle/>
                  <a:p>
                    <a:r>
                      <a:t>333.98</a:t>
                    </a:r>
                  </a:p>
                </c:rich>
              </c:tx>
              <c:showLegendKey val="0"/>
              <c:showVal val="1"/>
              <c:showCatName val="0"/>
              <c:showSerName val="0"/>
              <c:showPercent val="0"/>
              <c:showBubbleSize val="0"/>
            </c:dLbl>
            <c:dLbl>
              <c:idx val="5"/>
              <c:tx>
                <c:rich>
                  <a:bodyPr/>
                  <a:lstStyle/>
                  <a:p>
                    <a:r>
                      <a:t>304.3</a:t>
                    </a:r>
                  </a:p>
                </c:rich>
              </c:tx>
              <c:showLegendKey val="0"/>
              <c:showVal val="1"/>
              <c:showCatName val="0"/>
              <c:showSerName val="0"/>
              <c:showPercent val="0"/>
              <c:showBubbleSize val="0"/>
            </c:dLbl>
            <c:dLbl>
              <c:idx val="6"/>
              <c:tx>
                <c:rich>
                  <a:bodyPr/>
                  <a:lstStyle/>
                  <a:p>
                    <a:r>
                      <a:t>297.22</a:t>
                    </a:r>
                  </a:p>
                </c:rich>
              </c:tx>
              <c:showLegendKey val="0"/>
              <c:showVal val="1"/>
              <c:showCatName val="0"/>
              <c:showSerName val="0"/>
              <c:showPercent val="0"/>
              <c:showBubbleSize val="0"/>
            </c:dLbl>
            <c:dLbl>
              <c:idx val="7"/>
              <c:tx>
                <c:rich>
                  <a:bodyPr/>
                  <a:lstStyle/>
                  <a:p>
                    <a:r>
                      <a:t>757.68</a:t>
                    </a:r>
                  </a:p>
                </c:rich>
              </c:tx>
              <c:showLegendKey val="0"/>
              <c:showVal val="1"/>
              <c:showCatName val="0"/>
              <c:showSerName val="0"/>
              <c:showPercent val="0"/>
              <c:showBubbleSize val="0"/>
            </c:dLbl>
            <c:dLbl>
              <c:idx val="8"/>
              <c:tx>
                <c:rich>
                  <a:bodyPr/>
                  <a:lstStyle/>
                  <a:p>
                    <a:r>
                      <a:t>687.56</a:t>
                    </a:r>
                  </a:p>
                </c:rich>
              </c:tx>
              <c:showLegendKey val="0"/>
              <c:showVal val="1"/>
              <c:showCatName val="0"/>
              <c:showSerName val="0"/>
              <c:showPercent val="0"/>
              <c:showBubbleSize val="0"/>
            </c:dLbl>
            <c:dLbl>
              <c:idx val="9"/>
              <c:tx>
                <c:rich>
                  <a:bodyPr/>
                  <a:lstStyle/>
                  <a:p>
                    <a:r>
                      <a:t>621.65</a:t>
                    </a:r>
                  </a:p>
                </c:rich>
              </c:tx>
              <c:showLegendKey val="0"/>
              <c:showVal val="1"/>
              <c:showCatName val="0"/>
              <c:showSerName val="0"/>
              <c:showPercent val="0"/>
              <c:showBubbleSize val="0"/>
            </c:dLbl>
            <c:dLbl>
              <c:idx val="10"/>
              <c:tx>
                <c:rich>
                  <a:bodyPr/>
                  <a:lstStyle/>
                  <a:p>
                    <a:r>
                      <a:t>289.69</a:t>
                    </a:r>
                  </a:p>
                </c:rich>
              </c:tx>
              <c:showLegendKey val="0"/>
              <c:showVal val="1"/>
              <c:showCatName val="0"/>
              <c:showSerName val="0"/>
              <c:showPercent val="0"/>
              <c:showBubbleSize val="0"/>
            </c:dLbl>
            <c:dLbl>
              <c:idx val="11"/>
              <c:tx>
                <c:rich>
                  <a:bodyPr/>
                  <a:lstStyle/>
                  <a:p>
                    <a:r>
                      <a:t>49.4</a:t>
                    </a:r>
                  </a:p>
                </c:rich>
              </c:tx>
              <c:showLegendKey val="0"/>
              <c:showVal val="1"/>
              <c:showCatName val="0"/>
              <c:showSerName val="0"/>
              <c:showPercent val="0"/>
              <c:showBubbleSize val="0"/>
            </c:dLbl>
            <c:dLbl>
              <c:idx val="12"/>
              <c:tx>
                <c:rich>
                  <a:bodyPr/>
                  <a:lstStyle/>
                  <a:p>
                    <a:r>
                      <a:t>204.11</a:t>
                    </a:r>
                  </a:p>
                </c:rich>
              </c:tx>
              <c:showLegendKey val="0"/>
              <c:showVal val="1"/>
              <c:showCatName val="0"/>
              <c:showSerName val="0"/>
              <c:showPercent val="0"/>
              <c:showBubbleSize val="0"/>
            </c:dLbl>
            <c:dLbl>
              <c:idx val="13"/>
              <c:tx>
                <c:rich>
                  <a:bodyPr/>
                  <a:lstStyle/>
                  <a:p>
                    <a:r>
                      <a:t>367.0</a:t>
                    </a:r>
                  </a:p>
                </c:rich>
              </c:tx>
              <c:showLegendKey val="0"/>
              <c:showVal val="1"/>
              <c:showCatName val="0"/>
              <c:showSerName val="0"/>
              <c:showPercent val="0"/>
              <c:showBubbleSize val="0"/>
            </c:dLbl>
            <c:dLbl>
              <c:idx val="14"/>
              <c:tx>
                <c:rich>
                  <a:bodyPr/>
                  <a:lstStyle/>
                  <a:p>
                    <a:r>
                      <a:t>41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170Ml</c:v>
                </c:pt>
                <c:pt idx="1">
                  <c:v>Edgewell Banana Boat Banded Pack Banded Pack 2X Sunscreen Multi 50+ 236Ml</c:v>
                </c:pt>
                <c:pt idx="2">
                  <c:v>Edgewell Banana Boat Mineral Sunscreen Kids Cosmetics Locion 50 180Ml</c:v>
                </c:pt>
                <c:pt idx="3">
                  <c:v>Edgewell Banana Boat Mineral Sunscreen Adults Cosmetics Locion 50 180Ml</c:v>
                </c:pt>
                <c:pt idx="4">
                  <c:v>Edgewell Banana Boat Mineral Sunscreen Adults Sport Locion 50 180Ml</c:v>
                </c:pt>
                <c:pt idx="5">
                  <c:v>Glaxosmithkline Eclipsol Sunscreen Adults Derma Locion 50+ 60Ml</c:v>
                </c:pt>
                <c:pt idx="6">
                  <c:v>Glaxosmithkline Eclipsol Sunscreen Kids Derma Locion 50+ 60Ml</c:v>
                </c:pt>
                <c:pt idx="7">
                  <c:v>Glaxosmithkline Eclipsol Sunscreen Adults Derma Locion 50+ 125Ml</c:v>
                </c:pt>
                <c:pt idx="8">
                  <c:v>Isdin Isdin Sunscreen Baby Derma Spray Locion 50+ 250Ml</c:v>
                </c:pt>
                <c:pt idx="9">
                  <c:v>Isdin Isdin Sunscreen Adults Derma Locion 50+ 200Ml</c:v>
                </c:pt>
                <c:pt idx="10">
                  <c:v>Others Fabricante Unif. Others Marca Unif. Sunscreen Adults Sport Spray Locion 50 200Ml</c:v>
                </c:pt>
                <c:pt idx="11">
                  <c:v>Others Fabricante Unif. Others Marca Unif. Sunscreen Adults Cosmetics Locion 50+ 35Ml</c:v>
                </c:pt>
                <c:pt idx="12">
                  <c:v>Others Fabricante Unif. Others Marca Unif. Sunscreen Adults Cosmetics Locion 50 100Ml</c:v>
                </c:pt>
                <c:pt idx="13">
                  <c:v>Others Fabricante Unif. Others Marca Unif. Sunscreen Kids Cosmetics Locion 50+ 177Ml</c:v>
                </c:pt>
                <c:pt idx="14">
                  <c:v>Others Fabricante Unif. Others Marca Unif. Sunscreen Adults Sport Spray Locion 50+ 100Ml</c:v>
                </c:pt>
              </c:strCache>
            </c:strRef>
          </c:cat>
          <c:val>
            <c:numRef>
              <c:f>Sheet1!$B$2:$B$16</c:f>
              <c:numCache>
                <c:formatCode>General</c:formatCode>
                <c:ptCount val="15"/>
                <c:pt idx="0">
                  <c:v>338.04</c:v>
                </c:pt>
                <c:pt idx="1">
                  <c:v>269.13</c:v>
                </c:pt>
                <c:pt idx="2">
                  <c:v>337.05</c:v>
                </c:pt>
                <c:pt idx="3">
                  <c:v>330.28</c:v>
                </c:pt>
                <c:pt idx="4">
                  <c:v>333.98</c:v>
                </c:pt>
                <c:pt idx="5">
                  <c:v>304.3</c:v>
                </c:pt>
                <c:pt idx="6">
                  <c:v>297.22</c:v>
                </c:pt>
                <c:pt idx="7">
                  <c:v>757.68</c:v>
                </c:pt>
                <c:pt idx="8">
                  <c:v>687.56</c:v>
                </c:pt>
                <c:pt idx="9">
                  <c:v>621.65</c:v>
                </c:pt>
                <c:pt idx="10">
                  <c:v>289.69</c:v>
                </c:pt>
                <c:pt idx="11">
                  <c:v>49.4</c:v>
                </c:pt>
                <c:pt idx="12">
                  <c:v>204.11</c:v>
                </c:pt>
                <c:pt idx="13">
                  <c:v>367.0</c:v>
                </c:pt>
                <c:pt idx="14">
                  <c:v>4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2.74</a:t>
                    </a:r>
                  </a:p>
                </c:rich>
              </c:tx>
              <c:showLegendKey val="0"/>
              <c:showVal val="1"/>
              <c:showCatName val="0"/>
              <c:showSerName val="0"/>
              <c:showPercent val="0"/>
              <c:showBubbleSize val="0"/>
            </c:dLbl>
            <c:dLbl>
              <c:idx val="1"/>
              <c:tx>
                <c:rich>
                  <a:bodyPr/>
                  <a:lstStyle/>
                  <a:p>
                    <a:r>
                      <a:t>216.2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Ultra Sunscreen Adults Sport Roll-On 60+ 75Ml</c:v>
                </c:pt>
                <c:pt idx="1">
                  <c:v>Edgewell Banana Boat Kids Sport Sunscreen Kids Cosmetics Roll-On 60+ 75Ml</c:v>
                </c:pt>
              </c:strCache>
            </c:strRef>
          </c:cat>
          <c:val>
            <c:numRef>
              <c:f>Sheet1!$B$2:$B$3</c:f>
              <c:numCache>
                <c:formatCode>General</c:formatCode>
                <c:ptCount val="2"/>
                <c:pt idx="0">
                  <c:v>222.74</c:v>
                </c:pt>
                <c:pt idx="1">
                  <c:v>216.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9.2</a:t>
                    </a:r>
                  </a:p>
                </c:rich>
              </c:tx>
              <c:showLegendKey val="0"/>
              <c:showVal val="1"/>
              <c:showCatName val="0"/>
              <c:showSerName val="0"/>
              <c:showPercent val="0"/>
              <c:showBubbleSize val="0"/>
            </c:dLbl>
            <c:dLbl>
              <c:idx val="1"/>
              <c:tx>
                <c:rich>
                  <a:bodyPr/>
                  <a:lstStyle/>
                  <a:p>
                    <a:r>
                      <a:t>422.35</a:t>
                    </a:r>
                  </a:p>
                </c:rich>
              </c:tx>
              <c:showLegendKey val="0"/>
              <c:showVal val="1"/>
              <c:showCatName val="0"/>
              <c:showSerName val="0"/>
              <c:showPercent val="0"/>
              <c:showBubbleSize val="0"/>
            </c:dLbl>
            <c:dLbl>
              <c:idx val="2"/>
              <c:tx>
                <c:rich>
                  <a:bodyPr/>
                  <a:lstStyle/>
                  <a:p>
                    <a:r>
                      <a:t>243.26</a:t>
                    </a:r>
                  </a:p>
                </c:rich>
              </c:tx>
              <c:showLegendKey val="0"/>
              <c:showVal val="1"/>
              <c:showCatName val="0"/>
              <c:showSerName val="0"/>
              <c:showPercent val="0"/>
              <c:showBubbleSize val="0"/>
            </c:dLbl>
            <c:dLbl>
              <c:idx val="3"/>
              <c:tx>
                <c:rich>
                  <a:bodyPr/>
                  <a:lstStyle/>
                  <a:p>
                    <a:r>
                      <a:t>729.09</a:t>
                    </a:r>
                  </a:p>
                </c:rich>
              </c:tx>
              <c:showLegendKey val="0"/>
              <c:showVal val="1"/>
              <c:showCatName val="0"/>
              <c:showSerName val="0"/>
              <c:showPercent val="0"/>
              <c:showBubbleSize val="0"/>
            </c:dLbl>
            <c:dLbl>
              <c:idx val="4"/>
              <c:tx>
                <c:rich>
                  <a:bodyPr/>
                  <a:lstStyle/>
                  <a:p>
                    <a:r>
                      <a:t>892.21</a:t>
                    </a:r>
                  </a:p>
                </c:rich>
              </c:tx>
              <c:showLegendKey val="0"/>
              <c:showVal val="1"/>
              <c:showCatName val="0"/>
              <c:showSerName val="0"/>
              <c:showPercent val="0"/>
              <c:showBubbleSize val="0"/>
            </c:dLbl>
            <c:dLbl>
              <c:idx val="5"/>
              <c:tx>
                <c:rich>
                  <a:bodyPr/>
                  <a:lstStyle/>
                  <a:p>
                    <a:r>
                      <a:t>834.39</a:t>
                    </a:r>
                  </a:p>
                </c:rich>
              </c:tx>
              <c:showLegendKey val="0"/>
              <c:showVal val="1"/>
              <c:showCatName val="0"/>
              <c:showSerName val="0"/>
              <c:showPercent val="0"/>
              <c:showBubbleSize val="0"/>
            </c:dLbl>
            <c:dLbl>
              <c:idx val="6"/>
              <c:tx>
                <c:rich>
                  <a:bodyPr/>
                  <a:lstStyle/>
                  <a:p>
                    <a:r>
                      <a:t>380.57</a:t>
                    </a:r>
                  </a:p>
                </c:rich>
              </c:tx>
              <c:showLegendKey val="0"/>
              <c:showVal val="1"/>
              <c:showCatName val="0"/>
              <c:showSerName val="0"/>
              <c:showPercent val="0"/>
              <c:showBubbleSize val="0"/>
            </c:dLbl>
            <c:dLbl>
              <c:idx val="7"/>
              <c:tx>
                <c:rich>
                  <a:bodyPr/>
                  <a:lstStyle/>
                  <a:p>
                    <a:r>
                      <a:t>1239.0</a:t>
                    </a:r>
                  </a:p>
                </c:rich>
              </c:tx>
              <c:showLegendKey val="0"/>
              <c:showVal val="1"/>
              <c:showCatName val="0"/>
              <c:showSerName val="0"/>
              <c:showPercent val="0"/>
              <c:showBubbleSize val="0"/>
            </c:dLbl>
            <c:dLbl>
              <c:idx val="8"/>
              <c:tx>
                <c:rich>
                  <a:bodyPr/>
                  <a:lstStyle/>
                  <a:p>
                    <a:r>
                      <a:t>834.02</a:t>
                    </a:r>
                  </a:p>
                </c:rich>
              </c:tx>
              <c:showLegendKey val="0"/>
              <c:showVal val="1"/>
              <c:showCatName val="0"/>
              <c:showSerName val="0"/>
              <c:showPercent val="0"/>
              <c:showBubbleSize val="0"/>
            </c:dLbl>
            <c:dLbl>
              <c:idx val="9"/>
              <c:tx>
                <c:rich>
                  <a:bodyPr/>
                  <a:lstStyle/>
                  <a:p>
                    <a:r>
                      <a:t>409.15</a:t>
                    </a:r>
                  </a:p>
                </c:rich>
              </c:tx>
              <c:showLegendKey val="0"/>
              <c:showVal val="1"/>
              <c:showCatName val="0"/>
              <c:showSerName val="0"/>
              <c:showPercent val="0"/>
              <c:showBubbleSize val="0"/>
            </c:dLbl>
            <c:dLbl>
              <c:idx val="10"/>
              <c:tx>
                <c:rich>
                  <a:bodyPr/>
                  <a:lstStyle/>
                  <a:p>
                    <a:r>
                      <a:t>350.48</a:t>
                    </a:r>
                  </a:p>
                </c:rich>
              </c:tx>
              <c:showLegendKey val="0"/>
              <c:showVal val="1"/>
              <c:showCatName val="0"/>
              <c:showSerName val="0"/>
              <c:showPercent val="0"/>
              <c:showBubbleSize val="0"/>
            </c:dLbl>
            <c:dLbl>
              <c:idx val="11"/>
              <c:tx>
                <c:rich>
                  <a:bodyPr/>
                  <a:lstStyle/>
                  <a:p>
                    <a:r>
                      <a:t>357.0</a:t>
                    </a:r>
                  </a:p>
                </c:rich>
              </c:tx>
              <c:showLegendKey val="0"/>
              <c:showVal val="1"/>
              <c:showCatName val="0"/>
              <c:showSerName val="0"/>
              <c:showPercent val="0"/>
              <c:showBubbleSize val="0"/>
            </c:dLbl>
            <c:dLbl>
              <c:idx val="12"/>
              <c:tx>
                <c:rich>
                  <a:bodyPr/>
                  <a:lstStyle/>
                  <a:p>
                    <a:r>
                      <a:t>103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Spray 50+ 170Ml</c:v>
                </c:pt>
                <c:pt idx="1">
                  <c:v>Edgewell Banana Boat Dry Balance Sunscreen Adults Sport Spray 50+ 170Ml</c:v>
                </c:pt>
                <c:pt idx="2">
                  <c:v>Edgewell Banana Boat Dry Balance Sunscreen Adults Cosmetics Spray 50+ 340Ml</c:v>
                </c:pt>
                <c:pt idx="3">
                  <c:v>Bioderma Photoderm Sunscreen Adults Derma Spray 50+ 300Ml</c:v>
                </c:pt>
                <c:pt idx="4">
                  <c:v>L'Oreal La Roche-Posay Sunscreen Adults Derma Spray 50+ 200Ml</c:v>
                </c:pt>
                <c:pt idx="5">
                  <c:v>Bioderma Photoderm Sunscreen Adults Derma Spray 50+ 150Ml</c:v>
                </c:pt>
                <c:pt idx="6">
                  <c:v>Australian Gold Australian Gold Sunscreen Adults Cosmetics Spray 30 - 49 170Ml</c:v>
                </c:pt>
                <c:pt idx="7">
                  <c:v>L'Oreal La Roche-Posay Sunscreen Kids Derma Spray 50+ 200Ml</c:v>
                </c:pt>
                <c:pt idx="8">
                  <c:v>Bioderma Photoderm Sunscreen Kids Derma Spray 50+ 200Ml</c:v>
                </c:pt>
                <c:pt idx="9">
                  <c:v>Australian Gold Australian Gold Sunscreen Adults Sport Spray 50 170Ml</c:v>
                </c:pt>
                <c:pt idx="10">
                  <c:v>Australian Gold Australian Gold Sunscreen Adults Cosmetics Spray 15 - 19 170Ml</c:v>
                </c:pt>
                <c:pt idx="11">
                  <c:v>Australian Gold Australian Gold Sunscreen Kids Cosmetics Spray 50 170Ml</c:v>
                </c:pt>
                <c:pt idx="12">
                  <c:v>Bioderma Photoderm Sunscreen Adults Derma Spray 50+ 400Ml</c:v>
                </c:pt>
              </c:strCache>
            </c:strRef>
          </c:cat>
          <c:val>
            <c:numRef>
              <c:f>Sheet1!$B$2:$B$14</c:f>
              <c:numCache>
                <c:formatCode>General</c:formatCode>
                <c:ptCount val="13"/>
                <c:pt idx="0">
                  <c:v>309.2</c:v>
                </c:pt>
                <c:pt idx="1">
                  <c:v>422.35</c:v>
                </c:pt>
                <c:pt idx="2">
                  <c:v>243.26</c:v>
                </c:pt>
                <c:pt idx="3">
                  <c:v>729.09</c:v>
                </c:pt>
                <c:pt idx="4">
                  <c:v>892.21</c:v>
                </c:pt>
                <c:pt idx="5">
                  <c:v>834.39</c:v>
                </c:pt>
                <c:pt idx="6">
                  <c:v>380.57</c:v>
                </c:pt>
                <c:pt idx="7">
                  <c:v>1239.0</c:v>
                </c:pt>
                <c:pt idx="8">
                  <c:v>834.02</c:v>
                </c:pt>
                <c:pt idx="9">
                  <c:v>409.15</c:v>
                </c:pt>
                <c:pt idx="10">
                  <c:v>350.48</c:v>
                </c:pt>
                <c:pt idx="11">
                  <c:v>357.0</c:v>
                </c:pt>
                <c:pt idx="12">
                  <c:v>10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550.32</a:t>
                    </a:r>
                  </a:p>
                </c:rich>
              </c:tx>
              <c:showLegendKey val="0"/>
              <c:showVal val="1"/>
              <c:showCatName val="0"/>
              <c:showSerName val="0"/>
              <c:showPercent val="0"/>
              <c:showBubbleSize val="0"/>
            </c:dLbl>
            <c:dLbl>
              <c:idx val="2"/>
              <c:tx>
                <c:rich>
                  <a:bodyPr/>
                  <a:lstStyle/>
                  <a:p>
                    <a:r>
                      <a:t>677.76</a:t>
                    </a:r>
                  </a:p>
                </c:rich>
              </c:tx>
              <c:showLegendKey val="0"/>
              <c:showVal val="1"/>
              <c:showCatName val="0"/>
              <c:showSerName val="0"/>
              <c:showPercent val="0"/>
              <c:showBubbleSize val="0"/>
            </c:dLbl>
            <c:dLbl>
              <c:idx val="3"/>
              <c:tx>
                <c:rich>
                  <a:bodyPr/>
                  <a:lstStyle/>
                  <a:p>
                    <a:r>
                      <a:t>823.03</a:t>
                    </a:r>
                  </a:p>
                </c:rich>
              </c:tx>
              <c:showLegendKey val="0"/>
              <c:showVal val="1"/>
              <c:showCatName val="0"/>
              <c:showSerName val="0"/>
              <c:showPercent val="0"/>
              <c:showBubbleSize val="0"/>
            </c:dLbl>
            <c:dLbl>
              <c:idx val="4"/>
              <c:tx>
                <c:rich>
                  <a:bodyPr/>
                  <a:lstStyle/>
                  <a:p>
                    <a:r>
                      <a:t>682.57</a:t>
                    </a:r>
                  </a:p>
                </c:rich>
              </c:tx>
              <c:showLegendKey val="0"/>
              <c:showVal val="1"/>
              <c:showCatName val="0"/>
              <c:showSerName val="0"/>
              <c:showPercent val="0"/>
              <c:showBubbleSize val="0"/>
            </c:dLbl>
            <c:dLbl>
              <c:idx val="5"/>
              <c:tx>
                <c:rich>
                  <a:bodyPr/>
                  <a:lstStyle/>
                  <a:p>
                    <a:r>
                      <a:t>592.1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Tanning Sunscreen Adults Cosmetics Aceite 15 - 19 240Ml</c:v>
                </c:pt>
                <c:pt idx="1">
                  <c:v>L'Oreal La Roche-Posay Sunscreen Adults Derma Spray Aceite 50 75Ml</c:v>
                </c:pt>
                <c:pt idx="2">
                  <c:v>Isdin Isdin Sunscreen Adults Derma Spray Aceite 50 200Ml</c:v>
                </c:pt>
                <c:pt idx="3">
                  <c:v>L'Oreal La Roche-Posay Sunscreen Adults Derma Spray Aceite 50+ 200Ml</c:v>
                </c:pt>
                <c:pt idx="4">
                  <c:v>Ifc Heliocare Sunscreen Adults Derma Spray Aceite 50+ 200Ml</c:v>
                </c:pt>
                <c:pt idx="5">
                  <c:v>Isdin Isdin Sunscreen Adults Derma Aceite 30 200Ml</c:v>
                </c:pt>
              </c:strCache>
            </c:strRef>
          </c:cat>
          <c:val>
            <c:numRef>
              <c:f>Sheet1!$B$2:$B$7</c:f>
              <c:numCache>
                <c:formatCode>General</c:formatCode>
                <c:ptCount val="6"/>
                <c:pt idx="0">
                  <c:v>399.0</c:v>
                </c:pt>
                <c:pt idx="1">
                  <c:v>550.32</c:v>
                </c:pt>
                <c:pt idx="2">
                  <c:v>677.76</c:v>
                </c:pt>
                <c:pt idx="3">
                  <c:v>823.03</c:v>
                </c:pt>
                <c:pt idx="4">
                  <c:v>682.57</c:v>
                </c:pt>
                <c:pt idx="5">
                  <c:v>592.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2</a:t>
                    </a:r>
                  </a:p>
                </c:rich>
              </c:tx>
              <c:showLegendKey val="0"/>
              <c:showVal val="1"/>
              <c:showCatName val="0"/>
              <c:showSerName val="0"/>
              <c:showPercent val="0"/>
              <c:showBubbleSize val="0"/>
            </c:dLbl>
            <c:dLbl>
              <c:idx val="1"/>
              <c:tx>
                <c:rich>
                  <a:bodyPr/>
                  <a:lstStyle/>
                  <a:p>
                    <a:r>
                      <a:t>185.5</a:t>
                    </a:r>
                  </a:p>
                </c:rich>
              </c:tx>
              <c:showLegendKey val="0"/>
              <c:showVal val="1"/>
              <c:showCatName val="0"/>
              <c:showSerName val="0"/>
              <c:showPercent val="0"/>
              <c:showBubbleSize val="0"/>
            </c:dLbl>
            <c:dLbl>
              <c:idx val="2"/>
              <c:tx>
                <c:rich>
                  <a:bodyPr/>
                  <a:lstStyle/>
                  <a:p>
                    <a:r>
                      <a:t>209.16</a:t>
                    </a:r>
                  </a:p>
                </c:rich>
              </c:tx>
              <c:showLegendKey val="0"/>
              <c:showVal val="1"/>
              <c:showCatName val="0"/>
              <c:showSerName val="0"/>
              <c:showPercent val="0"/>
              <c:showBubbleSize val="0"/>
            </c:dLbl>
            <c:dLbl>
              <c:idx val="3"/>
              <c:tx>
                <c:rich>
                  <a:bodyPr/>
                  <a:lstStyle/>
                  <a:p>
                    <a:r>
                      <a:t>222.13</a:t>
                    </a:r>
                  </a:p>
                </c:rich>
              </c:tx>
              <c:showLegendKey val="0"/>
              <c:showVal val="1"/>
              <c:showCatName val="0"/>
              <c:showSerName val="0"/>
              <c:showPercent val="0"/>
              <c:showBubbleSize val="0"/>
            </c:dLbl>
            <c:dLbl>
              <c:idx val="4"/>
              <c:tx>
                <c:rich>
                  <a:bodyPr/>
                  <a:lstStyle/>
                  <a:p>
                    <a:r>
                      <a:t>224.22</a:t>
                    </a:r>
                  </a:p>
                </c:rich>
              </c:tx>
              <c:showLegendKey val="0"/>
              <c:showVal val="1"/>
              <c:showCatName val="0"/>
              <c:showSerName val="0"/>
              <c:showPercent val="0"/>
              <c:showBubbleSize val="0"/>
            </c:dLbl>
            <c:dLbl>
              <c:idx val="5"/>
              <c:tx>
                <c:rich>
                  <a:bodyPr/>
                  <a:lstStyle/>
                  <a:p>
                    <a:r>
                      <a:t>665.84</a:t>
                    </a:r>
                  </a:p>
                </c:rich>
              </c:tx>
              <c:showLegendKey val="0"/>
              <c:showVal val="1"/>
              <c:showCatName val="0"/>
              <c:showSerName val="0"/>
              <c:showPercent val="0"/>
              <c:showBubbleSize val="0"/>
            </c:dLbl>
            <c:dLbl>
              <c:idx val="6"/>
              <c:tx>
                <c:rich>
                  <a:bodyPr/>
                  <a:lstStyle/>
                  <a:p>
                    <a:r>
                      <a:t>710.14</a:t>
                    </a:r>
                  </a:p>
                </c:rich>
              </c:tx>
              <c:showLegendKey val="0"/>
              <c:showVal val="1"/>
              <c:showCatName val="0"/>
              <c:showSerName val="0"/>
              <c:showPercent val="0"/>
              <c:showBubbleSize val="0"/>
            </c:dLbl>
            <c:dLbl>
              <c:idx val="7"/>
              <c:tx>
                <c:rich>
                  <a:bodyPr/>
                  <a:lstStyle/>
                  <a:p>
                    <a:r>
                      <a:t>644.71</a:t>
                    </a:r>
                  </a:p>
                </c:rich>
              </c:tx>
              <c:showLegendKey val="0"/>
              <c:showVal val="1"/>
              <c:showCatName val="0"/>
              <c:showSerName val="0"/>
              <c:showPercent val="0"/>
              <c:showBubbleSize val="0"/>
            </c:dLbl>
            <c:dLbl>
              <c:idx val="8"/>
              <c:tx>
                <c:rich>
                  <a:bodyPr/>
                  <a:lstStyle/>
                  <a:p>
                    <a:r>
                      <a:t>773.12</a:t>
                    </a:r>
                  </a:p>
                </c:rich>
              </c:tx>
              <c:showLegendKey val="0"/>
              <c:showVal val="1"/>
              <c:showCatName val="0"/>
              <c:showSerName val="0"/>
              <c:showPercent val="0"/>
              <c:showBubbleSize val="0"/>
            </c:dLbl>
            <c:dLbl>
              <c:idx val="9"/>
              <c:tx>
                <c:rich>
                  <a:bodyPr/>
                  <a:lstStyle/>
                  <a:p>
                    <a:r>
                      <a:t>809.12</a:t>
                    </a:r>
                  </a:p>
                </c:rich>
              </c:tx>
              <c:showLegendKey val="0"/>
              <c:showVal val="1"/>
              <c:showCatName val="0"/>
              <c:showSerName val="0"/>
              <c:showPercent val="0"/>
              <c:showBubbleSize val="0"/>
            </c:dLbl>
            <c:dLbl>
              <c:idx val="10"/>
              <c:tx>
                <c:rich>
                  <a:bodyPr/>
                  <a:lstStyle/>
                  <a:p>
                    <a:r>
                      <a:t>634.08</a:t>
                    </a:r>
                  </a:p>
                </c:rich>
              </c:tx>
              <c:showLegendKey val="0"/>
              <c:showVal val="1"/>
              <c:showCatName val="0"/>
              <c:showSerName val="0"/>
              <c:showPercent val="0"/>
              <c:showBubbleSize val="0"/>
            </c:dLbl>
            <c:dLbl>
              <c:idx val="11"/>
              <c:tx>
                <c:rich>
                  <a:bodyPr/>
                  <a:lstStyle/>
                  <a:p>
                    <a:r>
                      <a:t>642.22</a:t>
                    </a:r>
                  </a:p>
                </c:rich>
              </c:tx>
              <c:showLegendKey val="0"/>
              <c:showVal val="1"/>
              <c:showCatName val="0"/>
              <c:showSerName val="0"/>
              <c:showPercent val="0"/>
              <c:showBubbleSize val="0"/>
            </c:dLbl>
            <c:dLbl>
              <c:idx val="12"/>
              <c:tx>
                <c:rich>
                  <a:bodyPr/>
                  <a:lstStyle/>
                  <a:p>
                    <a:r>
                      <a:t>649.76</a:t>
                    </a:r>
                  </a:p>
                </c:rich>
              </c:tx>
              <c:showLegendKey val="0"/>
              <c:showVal val="1"/>
              <c:showCatName val="0"/>
              <c:showSerName val="0"/>
              <c:showPercent val="0"/>
              <c:showBubbleSize val="0"/>
            </c:dLbl>
            <c:dLbl>
              <c:idx val="13"/>
              <c:tx>
                <c:rich>
                  <a:bodyPr/>
                  <a:lstStyle/>
                  <a:p>
                    <a:r>
                      <a:t>315.86</a:t>
                    </a:r>
                  </a:p>
                </c:rich>
              </c:tx>
              <c:showLegendKey val="0"/>
              <c:showVal val="1"/>
              <c:showCatName val="0"/>
              <c:showSerName val="0"/>
              <c:showPercent val="0"/>
              <c:showBubbleSize val="0"/>
            </c:dLbl>
            <c:dLbl>
              <c:idx val="14"/>
              <c:tx>
                <c:rich>
                  <a:bodyPr/>
                  <a:lstStyle/>
                  <a:p>
                    <a:r>
                      <a:t>365.11</a:t>
                    </a:r>
                  </a:p>
                </c:rich>
              </c:tx>
              <c:showLegendKey val="0"/>
              <c:showVal val="1"/>
              <c:showCatName val="0"/>
              <c:showSerName val="0"/>
              <c:showPercent val="0"/>
              <c:showBubbleSize val="0"/>
            </c:dLbl>
            <c:dLbl>
              <c:idx val="15"/>
              <c:tx>
                <c:rich>
                  <a:bodyPr/>
                  <a:lstStyle/>
                  <a:p>
                    <a:r>
                      <a:t>308.98</a:t>
                    </a:r>
                  </a:p>
                </c:rich>
              </c:tx>
              <c:showLegendKey val="0"/>
              <c:showVal val="1"/>
              <c:showCatName val="0"/>
              <c:showSerName val="0"/>
              <c:showPercent val="0"/>
              <c:showBubbleSize val="0"/>
            </c:dLbl>
            <c:dLbl>
              <c:idx val="16"/>
              <c:tx>
                <c:rich>
                  <a:bodyPr/>
                  <a:lstStyle/>
                  <a:p>
                    <a:r>
                      <a:t>327.02</a:t>
                    </a:r>
                  </a:p>
                </c:rich>
              </c:tx>
              <c:showLegendKey val="0"/>
              <c:showVal val="1"/>
              <c:showCatName val="0"/>
              <c:showSerName val="0"/>
              <c:showPercent val="0"/>
              <c:showBubbleSize val="0"/>
            </c:dLbl>
            <c:dLbl>
              <c:idx val="17"/>
              <c:tx>
                <c:rich>
                  <a:bodyPr/>
                  <a:lstStyle/>
                  <a:p>
                    <a:r>
                      <a:t>411.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Hawaiian Tropic Other Sunscreen Adults Cosmetics Crema 50+ 240Ml</c:v>
                </c:pt>
                <c:pt idx="1">
                  <c:v>Edgewell Hawaiian Tropic Sheer Touch Sunscreen Adults Cosmetics Crema 50 120Ml</c:v>
                </c:pt>
                <c:pt idx="2">
                  <c:v>Edgewell Hawaiian Tropic Ozono Sunscreen Adults Cosmetics Crema 50+ 120Ml</c:v>
                </c:pt>
                <c:pt idx="3">
                  <c:v>Edgewell Hawaiian Tropic Other Sunscreen Adults Cosmetics Spray Crema 50 180Ml</c:v>
                </c:pt>
                <c:pt idx="4">
                  <c:v>Edgewell Hawaiian Tropic Baby Sunscreen Baby Cosmetics Crema 50+ 240Ml</c:v>
                </c:pt>
                <c:pt idx="5">
                  <c:v>Pierre Fabre Avene Sunscreen Adults Derma Crema 50+ 50Ml</c:v>
                </c:pt>
                <c:pt idx="6">
                  <c:v>Pierre Fabre Avene Sunscreen Adults Derma Crema 50+ 150Ml</c:v>
                </c:pt>
                <c:pt idx="7">
                  <c:v>Pierre Fabre Avene Sunscreen Adults Derma Crema 50 50Ml</c:v>
                </c:pt>
                <c:pt idx="8">
                  <c:v>Pierre Fabre Avene Sunscreen Adults Derma Spray Crema 50 200Ml</c:v>
                </c:pt>
                <c:pt idx="9">
                  <c:v>Pierre Fabre Avene Sunscreen Kids Derma Spray Crema 50 200Ml</c:v>
                </c:pt>
                <c:pt idx="10">
                  <c:v>Isdin Isdin Sunscreen Adults Derma Crema 50+ 50Ml</c:v>
                </c:pt>
                <c:pt idx="11">
                  <c:v>Isdin Isdin Sunscreen Adults Derma Crema 50 50Ml</c:v>
                </c:pt>
                <c:pt idx="12">
                  <c:v>Isdin Isdin Sunscreen Adults Derma Crema 30 50Ml</c:v>
                </c:pt>
                <c:pt idx="13">
                  <c:v>Beiersdorf Nivea Sunscreen Adults Cosmetics Crema 50 50Ml</c:v>
                </c:pt>
                <c:pt idx="14">
                  <c:v>Beiersdorf Nivea Sunscreen Adults Cosmetics Crema 50+ 200Ml</c:v>
                </c:pt>
                <c:pt idx="15">
                  <c:v>Beiersdorf Nivea Sunscreen Adults Cosmetics Crema 50+ 40Ml</c:v>
                </c:pt>
                <c:pt idx="16">
                  <c:v>Beiersdorf Nivea Sunscreen Adults Cosmetics Crema 50+ 50Ml</c:v>
                </c:pt>
                <c:pt idx="17">
                  <c:v>Beiersdorf Nivea Sunscreen Adults Cosmetics Crema 30 - 49 200Ml</c:v>
                </c:pt>
              </c:strCache>
            </c:strRef>
          </c:cat>
          <c:val>
            <c:numRef>
              <c:f>Sheet1!$B$2:$B$19</c:f>
              <c:numCache>
                <c:formatCode>General</c:formatCode>
                <c:ptCount val="18"/>
                <c:pt idx="0">
                  <c:v>305.32</c:v>
                </c:pt>
                <c:pt idx="1">
                  <c:v>185.5</c:v>
                </c:pt>
                <c:pt idx="2">
                  <c:v>209.16</c:v>
                </c:pt>
                <c:pt idx="3">
                  <c:v>222.13</c:v>
                </c:pt>
                <c:pt idx="4">
                  <c:v>224.22</c:v>
                </c:pt>
                <c:pt idx="5">
                  <c:v>665.84</c:v>
                </c:pt>
                <c:pt idx="6">
                  <c:v>710.14</c:v>
                </c:pt>
                <c:pt idx="7">
                  <c:v>644.71</c:v>
                </c:pt>
                <c:pt idx="8">
                  <c:v>773.12</c:v>
                </c:pt>
                <c:pt idx="9">
                  <c:v>809.12</c:v>
                </c:pt>
                <c:pt idx="10">
                  <c:v>634.08</c:v>
                </c:pt>
                <c:pt idx="11">
                  <c:v>642.22</c:v>
                </c:pt>
                <c:pt idx="12">
                  <c:v>649.76</c:v>
                </c:pt>
                <c:pt idx="13">
                  <c:v>315.86</c:v>
                </c:pt>
                <c:pt idx="14">
                  <c:v>365.11</c:v>
                </c:pt>
                <c:pt idx="15">
                  <c:v>308.98</c:v>
                </c:pt>
                <c:pt idx="16">
                  <c:v>327.02</c:v>
                </c:pt>
                <c:pt idx="17">
                  <c:v>411.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3</a:t>
                    </a:r>
                  </a:p>
                </c:rich>
              </c:tx>
              <c:dLblPos val="t"/>
              <c:showLegendKey val="0"/>
              <c:showVal val="1"/>
              <c:showCatName val="0"/>
              <c:showSerName val="0"/>
              <c:showPercent val="0"/>
              <c:showBubbleSize val="0"/>
            </c:dLbl>
            <c:dLbl>
              <c:idx val="1"/>
              <c:tx>
                <c:rich>
                  <a:bodyPr/>
                  <a:lstStyle/>
                  <a:p>
                    <a:r>
                      <a:t>308.97</a:t>
                    </a:r>
                  </a:p>
                </c:rich>
              </c:tx>
              <c:dLblPos val="t"/>
              <c:showLegendKey val="0"/>
              <c:showVal val="1"/>
              <c:showCatName val="0"/>
              <c:showSerName val="0"/>
              <c:showPercent val="0"/>
              <c:showBubbleSize val="0"/>
            </c:dLbl>
            <c:dLbl>
              <c:idx val="2"/>
              <c:tx>
                <c:rich>
                  <a:bodyPr/>
                  <a:lstStyle/>
                  <a:p>
                    <a:r>
                      <a:t>338.35</a:t>
                    </a:r>
                  </a:p>
                </c:rich>
              </c:tx>
              <c:dLblPos val="t"/>
              <c:showLegendKey val="0"/>
              <c:showVal val="1"/>
              <c:showCatName val="0"/>
              <c:showSerName val="0"/>
              <c:showPercent val="0"/>
              <c:showBubbleSize val="0"/>
            </c:dLbl>
            <c:dLbl>
              <c:idx val="3"/>
              <c:tx>
                <c:rich>
                  <a:bodyPr/>
                  <a:lstStyle/>
                  <a:p>
                    <a:r>
                      <a:t>322.45</a:t>
                    </a:r>
                  </a:p>
                </c:rich>
              </c:tx>
              <c:dLblPos val="t"/>
              <c:showLegendKey val="0"/>
              <c:showVal val="1"/>
              <c:showCatName val="0"/>
              <c:showSerName val="0"/>
              <c:showPercent val="0"/>
              <c:showBubbleSize val="0"/>
            </c:dLbl>
            <c:dLbl>
              <c:idx val="4"/>
              <c:tx>
                <c:rich>
                  <a:bodyPr/>
                  <a:lstStyle/>
                  <a:p>
                    <a:r>
                      <a:t>313.29</a:t>
                    </a:r>
                  </a:p>
                </c:rich>
              </c:tx>
              <c:dLblPos val="t"/>
              <c:showLegendKey val="0"/>
              <c:showVal val="1"/>
              <c:showCatName val="0"/>
              <c:showSerName val="0"/>
              <c:showPercent val="0"/>
              <c:showBubbleSize val="0"/>
            </c:dLbl>
            <c:dLbl>
              <c:idx val="5"/>
              <c:tx>
                <c:rich>
                  <a:bodyPr/>
                  <a:lstStyle/>
                  <a:p>
                    <a:r>
                      <a:t>314.03</a:t>
                    </a:r>
                  </a:p>
                </c:rich>
              </c:tx>
              <c:dLblPos val="t"/>
              <c:showLegendKey val="0"/>
              <c:showVal val="1"/>
              <c:showCatName val="0"/>
              <c:showSerName val="0"/>
              <c:showPercent val="0"/>
              <c:showBubbleSize val="0"/>
            </c:dLbl>
            <c:dLbl>
              <c:idx val="6"/>
              <c:tx>
                <c:rich>
                  <a:bodyPr/>
                  <a:lstStyle/>
                  <a:p>
                    <a:r>
                      <a:t>89.43</a:t>
                    </a:r>
                  </a:p>
                </c:rich>
              </c:tx>
              <c:dLblPos val="t"/>
              <c:showLegendKey val="0"/>
              <c:showVal val="1"/>
              <c:showCatName val="0"/>
              <c:showSerName val="0"/>
              <c:showPercent val="0"/>
              <c:showBubbleSize val="0"/>
            </c:dLbl>
            <c:dLbl>
              <c:idx val="7"/>
              <c:tx>
                <c:rich>
                  <a:bodyPr/>
                  <a:lstStyle/>
                  <a:p>
                    <a:r>
                      <a:t>383.56</a:t>
                    </a:r>
                  </a:p>
                </c:rich>
              </c:tx>
              <c:dLblPos val="t"/>
              <c:showLegendKey val="0"/>
              <c:showVal val="1"/>
              <c:showCatName val="0"/>
              <c:showSerName val="0"/>
              <c:showPercent val="0"/>
              <c:showBubbleSize val="0"/>
            </c:dLbl>
            <c:dLbl>
              <c:idx val="8"/>
              <c:tx>
                <c:rich>
                  <a:bodyPr/>
                  <a:lstStyle/>
                  <a:p>
                    <a:r>
                      <a:t>272.04</a:t>
                    </a:r>
                  </a:p>
                </c:rich>
              </c:tx>
              <c:dLblPos val="t"/>
              <c:showLegendKey val="0"/>
              <c:showVal val="1"/>
              <c:showCatName val="0"/>
              <c:showSerName val="0"/>
              <c:showPercent val="0"/>
              <c:showBubbleSize val="0"/>
            </c:dLbl>
            <c:dLbl>
              <c:idx val="9"/>
              <c:tx>
                <c:rich>
                  <a:bodyPr/>
                  <a:lstStyle/>
                  <a:p>
                    <a:r>
                      <a:t>265.35</a:t>
                    </a:r>
                  </a:p>
                </c:rich>
              </c:tx>
              <c:dLblPos val="t"/>
              <c:showLegendKey val="0"/>
              <c:showVal val="1"/>
              <c:showCatName val="0"/>
              <c:showSerName val="0"/>
              <c:showPercent val="0"/>
              <c:showBubbleSize val="0"/>
            </c:dLbl>
            <c:dLbl>
              <c:idx val="10"/>
              <c:tx>
                <c:rich>
                  <a:bodyPr/>
                  <a:lstStyle/>
                  <a:p>
                    <a:r>
                      <a:t>306.68</a:t>
                    </a:r>
                  </a:p>
                </c:rich>
              </c:tx>
              <c:dLblPos val="t"/>
              <c:showLegendKey val="0"/>
              <c:showVal val="1"/>
              <c:showCatName val="0"/>
              <c:showSerName val="0"/>
              <c:showPercent val="0"/>
              <c:showBubbleSize val="0"/>
            </c:dLbl>
            <c:dLbl>
              <c:idx val="11"/>
              <c:tx>
                <c:rich>
                  <a:bodyPr/>
                  <a:lstStyle/>
                  <a:p>
                    <a:r>
                      <a:t>250.9</a:t>
                    </a:r>
                  </a:p>
                </c:rich>
              </c:tx>
              <c:dLblPos val="t"/>
              <c:showLegendKey val="0"/>
              <c:showVal val="1"/>
              <c:showCatName val="0"/>
              <c:showSerName val="0"/>
              <c:showPercent val="0"/>
              <c:showBubbleSize val="0"/>
            </c:dLbl>
            <c:dLbl>
              <c:idx val="12"/>
              <c:tx>
                <c:rich>
                  <a:bodyPr/>
                  <a:lstStyle/>
                  <a:p>
                    <a:r>
                      <a:t>271.16</a:t>
                    </a:r>
                  </a:p>
                </c:rich>
              </c:tx>
              <c:dLblPos val="t"/>
              <c:showLegendKey val="0"/>
              <c:showVal val="1"/>
              <c:showCatName val="0"/>
              <c:showSerName val="0"/>
              <c:showPercent val="0"/>
              <c:showBubbleSize val="0"/>
            </c:dLbl>
            <c:dLbl>
              <c:idx val="13"/>
              <c:tx>
                <c:rich>
                  <a:bodyPr/>
                  <a:lstStyle/>
                  <a:p>
                    <a:r>
                      <a:t>223.35</a:t>
                    </a:r>
                  </a:p>
                </c:rich>
              </c:tx>
              <c:dLblPos val="t"/>
              <c:showLegendKey val="0"/>
              <c:showVal val="1"/>
              <c:showCatName val="0"/>
              <c:showSerName val="0"/>
              <c:showPercent val="0"/>
              <c:showBubbleSize val="0"/>
            </c:dLbl>
            <c:dLbl>
              <c:idx val="14"/>
              <c:tx>
                <c:rich>
                  <a:bodyPr/>
                  <a:lstStyle/>
                  <a:p>
                    <a:r>
                      <a:t>349.0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Spray Liquido 50 220Ml</c:v>
                </c:pt>
                <c:pt idx="3">
                  <c:v>Edgewell Hawaiian Tropic Island Sport Sunscreen Adults Sport Liquido 50 240Ml</c:v>
                </c:pt>
                <c:pt idx="4">
                  <c:v>Edgewell Hawaiian Tropic Ozono Sunscreen Adults Cosmetics Spray Liquido 50+ 180Ml</c:v>
                </c:pt>
                <c:pt idx="5">
                  <c:v>Edgewell Hawaiian Tropic Tanning Sunscreen Adults Cosmetics Spray Liquido 15 - 19 220Ml</c:v>
                </c:pt>
                <c:pt idx="6">
                  <c:v>Edgewell Hawaiian Tropic Island Sport Sunscreen Adults Sport Liquido 50 60Ml</c:v>
                </c:pt>
                <c:pt idx="7">
                  <c:v>Edgewell Hawaiian Tropic Silk Hydration Sunscreen Adults Cosmetics Liquido 50 180Ml</c:v>
                </c:pt>
                <c:pt idx="8">
                  <c:v>Edgewell Hawaiian Tropic Silk Hydration Sunscreen Adults Cosmetics Spray Liquido 50 150Ml</c:v>
                </c:pt>
                <c:pt idx="9">
                  <c:v>Edgewell Hawaiian Tropic Silk Hydration Sunscreen Adults Cosmetics Spray Liquido 50+ 180Ml</c:v>
                </c:pt>
                <c:pt idx="10">
                  <c:v>Edgewell Hawaiian Tropic Ozono Sunscreen Adults Cosmetics Liquido 50+ 180Ml</c:v>
                </c:pt>
                <c:pt idx="11">
                  <c:v>Edgewell Hawaiian Tropic Carrot Sunscreen Adults Cosmetics Spray Liquido 30 - 49 177Ml</c:v>
                </c:pt>
                <c:pt idx="12">
                  <c:v>Edgewell Hawaiian Tropic Tanning Tanning Adults Cosmetics Spray Aceite 0 - 5 240Ml</c:v>
                </c:pt>
                <c:pt idx="13">
                  <c:v>Edgewell Hawaiian Tropic After Sun After Sun Adults Cosmetics Gel 0 - 5 240Ml</c:v>
                </c:pt>
                <c:pt idx="14">
                  <c:v>Edgewell Hawaiian Tropic Banded Pack Banded Pack 2X Sunscreen Multi 30 | 50+ 300Ml</c:v>
                </c:pt>
              </c:strCache>
            </c:strRef>
          </c:cat>
          <c:val>
            <c:numRef>
              <c:f>Sheet1!$B$2:$B$16</c:f>
              <c:numCache>
                <c:formatCode>General</c:formatCode>
                <c:ptCount val="15"/>
                <c:pt idx="0">
                  <c:v>303.93</c:v>
                </c:pt>
                <c:pt idx="1">
                  <c:v>308.97</c:v>
                </c:pt>
                <c:pt idx="2">
                  <c:v>338.35</c:v>
                </c:pt>
                <c:pt idx="3">
                  <c:v>322.45</c:v>
                </c:pt>
                <c:pt idx="4">
                  <c:v>313.29</c:v>
                </c:pt>
                <c:pt idx="5">
                  <c:v>314.03</c:v>
                </c:pt>
                <c:pt idx="6">
                  <c:v>89.43</c:v>
                </c:pt>
                <c:pt idx="7">
                  <c:v>383.56</c:v>
                </c:pt>
                <c:pt idx="8">
                  <c:v>272.04</c:v>
                </c:pt>
                <c:pt idx="9">
                  <c:v>265.35</c:v>
                </c:pt>
                <c:pt idx="10">
                  <c:v>306.68</c:v>
                </c:pt>
                <c:pt idx="11">
                  <c:v>250.9</c:v>
                </c:pt>
                <c:pt idx="12">
                  <c:v>271.16</c:v>
                </c:pt>
                <c:pt idx="13">
                  <c:v>223.35</c:v>
                </c:pt>
                <c:pt idx="14">
                  <c:v>349.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8.86</a:t>
                    </a:r>
                  </a:p>
                </c:rich>
              </c:tx>
              <c:showLegendKey val="0"/>
              <c:showVal val="1"/>
              <c:showCatName val="0"/>
              <c:showSerName val="0"/>
              <c:showPercent val="0"/>
              <c:showBubbleSize val="0"/>
            </c:dLbl>
            <c:dLbl>
              <c:idx val="1"/>
              <c:tx>
                <c:rich>
                  <a:bodyPr/>
                  <a:lstStyle/>
                  <a:p>
                    <a:r>
                      <a:t>270.48</a:t>
                    </a:r>
                  </a:p>
                </c:rich>
              </c:tx>
              <c:showLegendKey val="0"/>
              <c:showVal val="1"/>
              <c:showCatName val="0"/>
              <c:showSerName val="0"/>
              <c:showPercent val="0"/>
              <c:showBubbleSize val="0"/>
            </c:dLbl>
            <c:dLbl>
              <c:idx val="2"/>
              <c:tx>
                <c:rich>
                  <a:bodyPr/>
                  <a:lstStyle/>
                  <a:p>
                    <a:r>
                      <a:t>359.59</a:t>
                    </a:r>
                  </a:p>
                </c:rich>
              </c:tx>
              <c:showLegendKey val="0"/>
              <c:showVal val="1"/>
              <c:showCatName val="0"/>
              <c:showSerName val="0"/>
              <c:showPercent val="0"/>
              <c:showBubbleSize val="0"/>
            </c:dLbl>
            <c:dLbl>
              <c:idx val="3"/>
              <c:tx>
                <c:rich>
                  <a:bodyPr/>
                  <a:lstStyle/>
                  <a:p>
                    <a:r>
                      <a:t>341.27</a:t>
                    </a:r>
                  </a:p>
                </c:rich>
              </c:tx>
              <c:showLegendKey val="0"/>
              <c:showVal val="1"/>
              <c:showCatName val="0"/>
              <c:showSerName val="0"/>
              <c:showPercent val="0"/>
              <c:showBubbleSize val="0"/>
            </c:dLbl>
            <c:dLbl>
              <c:idx val="4"/>
              <c:tx>
                <c:rich>
                  <a:bodyPr/>
                  <a:lstStyle/>
                  <a:p>
                    <a:r>
                      <a:t>330.0</a:t>
                    </a:r>
                  </a:p>
                </c:rich>
              </c:tx>
              <c:showLegendKey val="0"/>
              <c:showVal val="1"/>
              <c:showCatName val="0"/>
              <c:showSerName val="0"/>
              <c:showPercent val="0"/>
              <c:showBubbleSize val="0"/>
            </c:dLbl>
            <c:dLbl>
              <c:idx val="5"/>
              <c:tx>
                <c:rich>
                  <a:bodyPr/>
                  <a:lstStyle/>
                  <a:p>
                    <a:r>
                      <a:t>665.84</a:t>
                    </a:r>
                  </a:p>
                </c:rich>
              </c:tx>
              <c:showLegendKey val="0"/>
              <c:showVal val="1"/>
              <c:showCatName val="0"/>
              <c:showSerName val="0"/>
              <c:showPercent val="0"/>
              <c:showBubbleSize val="0"/>
            </c:dLbl>
            <c:dLbl>
              <c:idx val="6"/>
              <c:tx>
                <c:rich>
                  <a:bodyPr/>
                  <a:lstStyle/>
                  <a:p>
                    <a:r>
                      <a:t>710.14</a:t>
                    </a:r>
                  </a:p>
                </c:rich>
              </c:tx>
              <c:showLegendKey val="0"/>
              <c:showVal val="1"/>
              <c:showCatName val="0"/>
              <c:showSerName val="0"/>
              <c:showPercent val="0"/>
              <c:showBubbleSize val="0"/>
            </c:dLbl>
            <c:dLbl>
              <c:idx val="7"/>
              <c:tx>
                <c:rich>
                  <a:bodyPr/>
                  <a:lstStyle/>
                  <a:p>
                    <a:r>
                      <a:t>644.71</a:t>
                    </a:r>
                  </a:p>
                </c:rich>
              </c:tx>
              <c:showLegendKey val="0"/>
              <c:showVal val="1"/>
              <c:showCatName val="0"/>
              <c:showSerName val="0"/>
              <c:showPercent val="0"/>
              <c:showBubbleSize val="0"/>
            </c:dLbl>
            <c:dLbl>
              <c:idx val="8"/>
              <c:tx>
                <c:rich>
                  <a:bodyPr/>
                  <a:lstStyle/>
                  <a:p>
                    <a:r>
                      <a:t>773.12</a:t>
                    </a:r>
                  </a:p>
                </c:rich>
              </c:tx>
              <c:showLegendKey val="0"/>
              <c:showVal val="1"/>
              <c:showCatName val="0"/>
              <c:showSerName val="0"/>
              <c:showPercent val="0"/>
              <c:showBubbleSize val="0"/>
            </c:dLbl>
            <c:dLbl>
              <c:idx val="9"/>
              <c:tx>
                <c:rich>
                  <a:bodyPr/>
                  <a:lstStyle/>
                  <a:p>
                    <a:r>
                      <a:t>809.12</a:t>
                    </a:r>
                  </a:p>
                </c:rich>
              </c:tx>
              <c:showLegendKey val="0"/>
              <c:showVal val="1"/>
              <c:showCatName val="0"/>
              <c:showSerName val="0"/>
              <c:showPercent val="0"/>
              <c:showBubbleSize val="0"/>
            </c:dLbl>
            <c:dLbl>
              <c:idx val="10"/>
              <c:tx>
                <c:rich>
                  <a:bodyPr/>
                  <a:lstStyle/>
                  <a:p>
                    <a:r>
                      <a:t>634.08</a:t>
                    </a:r>
                  </a:p>
                </c:rich>
              </c:tx>
              <c:showLegendKey val="0"/>
              <c:showVal val="1"/>
              <c:showCatName val="0"/>
              <c:showSerName val="0"/>
              <c:showPercent val="0"/>
              <c:showBubbleSize val="0"/>
            </c:dLbl>
            <c:dLbl>
              <c:idx val="11"/>
              <c:tx>
                <c:rich>
                  <a:bodyPr/>
                  <a:lstStyle/>
                  <a:p>
                    <a:r>
                      <a:t>642.22</a:t>
                    </a:r>
                  </a:p>
                </c:rich>
              </c:tx>
              <c:showLegendKey val="0"/>
              <c:showVal val="1"/>
              <c:showCatName val="0"/>
              <c:showSerName val="0"/>
              <c:showPercent val="0"/>
              <c:showBubbleSize val="0"/>
            </c:dLbl>
            <c:dLbl>
              <c:idx val="12"/>
              <c:tx>
                <c:rich>
                  <a:bodyPr/>
                  <a:lstStyle/>
                  <a:p>
                    <a:r>
                      <a:t>649.76</a:t>
                    </a:r>
                  </a:p>
                </c:rich>
              </c:tx>
              <c:showLegendKey val="0"/>
              <c:showVal val="1"/>
              <c:showCatName val="0"/>
              <c:showSerName val="0"/>
              <c:showPercent val="0"/>
              <c:showBubbleSize val="0"/>
            </c:dLbl>
            <c:dLbl>
              <c:idx val="13"/>
              <c:tx>
                <c:rich>
                  <a:bodyPr/>
                  <a:lstStyle/>
                  <a:p>
                    <a:r>
                      <a:t>315.86</a:t>
                    </a:r>
                  </a:p>
                </c:rich>
              </c:tx>
              <c:showLegendKey val="0"/>
              <c:showVal val="1"/>
              <c:showCatName val="0"/>
              <c:showSerName val="0"/>
              <c:showPercent val="0"/>
              <c:showBubbleSize val="0"/>
            </c:dLbl>
            <c:dLbl>
              <c:idx val="14"/>
              <c:tx>
                <c:rich>
                  <a:bodyPr/>
                  <a:lstStyle/>
                  <a:p>
                    <a:r>
                      <a:t>365.11</a:t>
                    </a:r>
                  </a:p>
                </c:rich>
              </c:tx>
              <c:showLegendKey val="0"/>
              <c:showVal val="1"/>
              <c:showCatName val="0"/>
              <c:showSerName val="0"/>
              <c:showPercent val="0"/>
              <c:showBubbleSize val="0"/>
            </c:dLbl>
            <c:dLbl>
              <c:idx val="15"/>
              <c:tx>
                <c:rich>
                  <a:bodyPr/>
                  <a:lstStyle/>
                  <a:p>
                    <a:r>
                      <a:t>308.98</a:t>
                    </a:r>
                  </a:p>
                </c:rich>
              </c:tx>
              <c:showLegendKey val="0"/>
              <c:showVal val="1"/>
              <c:showCatName val="0"/>
              <c:showSerName val="0"/>
              <c:showPercent val="0"/>
              <c:showBubbleSize val="0"/>
            </c:dLbl>
            <c:dLbl>
              <c:idx val="16"/>
              <c:tx>
                <c:rich>
                  <a:bodyPr/>
                  <a:lstStyle/>
                  <a:p>
                    <a:r>
                      <a:t>327.02</a:t>
                    </a:r>
                  </a:p>
                </c:rich>
              </c:tx>
              <c:showLegendKey val="0"/>
              <c:showVal val="1"/>
              <c:showCatName val="0"/>
              <c:showSerName val="0"/>
              <c:showPercent val="0"/>
              <c:showBubbleSize val="0"/>
            </c:dLbl>
            <c:dLbl>
              <c:idx val="17"/>
              <c:tx>
                <c:rich>
                  <a:bodyPr/>
                  <a:lstStyle/>
                  <a:p>
                    <a:r>
                      <a:t>411.9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Edgewell Banana Boat Aqua Protect Sunscreen Adults Sport Crema 50+ 236Ml</c:v>
                </c:pt>
                <c:pt idx="1">
                  <c:v>Edgewell Banana Boat Dry Balance Sunscreen Adults Cosmetics Spray Crema 50+ 220Ml</c:v>
                </c:pt>
                <c:pt idx="2">
                  <c:v>Edgewell Banana Boat Dry Balance Sunscreen Adults Sport Crema 50+ 180Ml</c:v>
                </c:pt>
                <c:pt idx="3">
                  <c:v>Edgewell Banana Boat Aqua Protect Sunscreen Adults Cosmetics Crema 50+ 236Ml</c:v>
                </c:pt>
                <c:pt idx="4">
                  <c:v>Edgewell Banana Boat Kids Sport Sunscreen Kids Cosmetics Crema 50 180Ml</c:v>
                </c:pt>
                <c:pt idx="5">
                  <c:v>Pierre Fabre Avene Sunscreen Adults Derma Crema 50+ 50Ml</c:v>
                </c:pt>
                <c:pt idx="6">
                  <c:v>Pierre Fabre Avene Sunscreen Adults Derma Crema 50+ 150Ml</c:v>
                </c:pt>
                <c:pt idx="7">
                  <c:v>Pierre Fabre Avene Sunscreen Adults Derma Crema 50 50Ml</c:v>
                </c:pt>
                <c:pt idx="8">
                  <c:v>Pierre Fabre Avene Sunscreen Adults Derma Spray Crema 50 200Ml</c:v>
                </c:pt>
                <c:pt idx="9">
                  <c:v>Pierre Fabre Avene Sunscreen Kids Derma Spray Crema 50 200Ml</c:v>
                </c:pt>
                <c:pt idx="10">
                  <c:v>Isdin Isdin Sunscreen Adults Derma Crema 50+ 50Ml</c:v>
                </c:pt>
                <c:pt idx="11">
                  <c:v>Isdin Isdin Sunscreen Adults Derma Crema 50 50Ml</c:v>
                </c:pt>
                <c:pt idx="12">
                  <c:v>Isdin Isdin Sunscreen Adults Derma Crema 30 50Ml</c:v>
                </c:pt>
                <c:pt idx="13">
                  <c:v>Beiersdorf Nivea Sunscreen Adults Cosmetics Crema 50 50Ml</c:v>
                </c:pt>
                <c:pt idx="14">
                  <c:v>Beiersdorf Nivea Sunscreen Adults Cosmetics Crema 50+ 200Ml</c:v>
                </c:pt>
                <c:pt idx="15">
                  <c:v>Beiersdorf Nivea Sunscreen Adults Cosmetics Crema 50+ 40Ml</c:v>
                </c:pt>
                <c:pt idx="16">
                  <c:v>Beiersdorf Nivea Sunscreen Adults Cosmetics Crema 50+ 50Ml</c:v>
                </c:pt>
                <c:pt idx="17">
                  <c:v>Beiersdorf Nivea Sunscreen Adults Cosmetics Crema 30 - 49 200Ml</c:v>
                </c:pt>
              </c:strCache>
            </c:strRef>
          </c:cat>
          <c:val>
            <c:numRef>
              <c:f>Sheet1!$B$2:$B$19</c:f>
              <c:numCache>
                <c:formatCode>General</c:formatCode>
                <c:ptCount val="18"/>
                <c:pt idx="0">
                  <c:v>348.86</c:v>
                </c:pt>
                <c:pt idx="1">
                  <c:v>270.48</c:v>
                </c:pt>
                <c:pt idx="2">
                  <c:v>359.59</c:v>
                </c:pt>
                <c:pt idx="3">
                  <c:v>341.27</c:v>
                </c:pt>
                <c:pt idx="4">
                  <c:v>330.0</c:v>
                </c:pt>
                <c:pt idx="5">
                  <c:v>665.84</c:v>
                </c:pt>
                <c:pt idx="6">
                  <c:v>710.14</c:v>
                </c:pt>
                <c:pt idx="7">
                  <c:v>644.71</c:v>
                </c:pt>
                <c:pt idx="8">
                  <c:v>773.12</c:v>
                </c:pt>
                <c:pt idx="9">
                  <c:v>809.12</c:v>
                </c:pt>
                <c:pt idx="10">
                  <c:v>634.08</c:v>
                </c:pt>
                <c:pt idx="11">
                  <c:v>642.22</c:v>
                </c:pt>
                <c:pt idx="12">
                  <c:v>649.76</c:v>
                </c:pt>
                <c:pt idx="13">
                  <c:v>315.86</c:v>
                </c:pt>
                <c:pt idx="14">
                  <c:v>365.11</c:v>
                </c:pt>
                <c:pt idx="15">
                  <c:v>308.98</c:v>
                </c:pt>
                <c:pt idx="16">
                  <c:v>327.02</c:v>
                </c:pt>
                <c:pt idx="17">
                  <c:v>411.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2.58</a:t>
                    </a:r>
                  </a:p>
                </c:rich>
              </c:tx>
              <c:showLegendKey val="0"/>
              <c:showVal val="1"/>
              <c:showCatName val="0"/>
              <c:showSerName val="0"/>
              <c:showPercent val="0"/>
              <c:showBubbleSize val="0"/>
            </c:dLbl>
            <c:dLbl>
              <c:idx val="1"/>
              <c:tx>
                <c:rich>
                  <a:bodyPr/>
                  <a:lstStyle/>
                  <a:p>
                    <a:r>
                      <a:t>633.08</a:t>
                    </a:r>
                  </a:p>
                </c:rich>
              </c:tx>
              <c:showLegendKey val="0"/>
              <c:showVal val="1"/>
              <c:showCatName val="0"/>
              <c:showSerName val="0"/>
              <c:showPercent val="0"/>
              <c:showBubbleSize val="0"/>
            </c:dLbl>
            <c:dLbl>
              <c:idx val="2"/>
              <c:tx>
                <c:rich>
                  <a:bodyPr/>
                  <a:lstStyle/>
                  <a:p>
                    <a:r>
                      <a:t>652.94</a:t>
                    </a:r>
                  </a:p>
                </c:rich>
              </c:tx>
              <c:showLegendKey val="0"/>
              <c:showVal val="1"/>
              <c:showCatName val="0"/>
              <c:showSerName val="0"/>
              <c:showPercent val="0"/>
              <c:showBubbleSize val="0"/>
            </c:dLbl>
            <c:dLbl>
              <c:idx val="3"/>
              <c:tx>
                <c:rich>
                  <a:bodyPr/>
                  <a:lstStyle/>
                  <a:p>
                    <a:r>
                      <a:t>771.01</a:t>
                    </a:r>
                  </a:p>
                </c:rich>
              </c:tx>
              <c:showLegendKey val="0"/>
              <c:showVal val="1"/>
              <c:showCatName val="0"/>
              <c:showSerName val="0"/>
              <c:showPercent val="0"/>
              <c:showBubbleSize val="0"/>
            </c:dLbl>
            <c:dLbl>
              <c:idx val="4"/>
              <c:tx>
                <c:rich>
                  <a:bodyPr/>
                  <a:lstStyle/>
                  <a:p>
                    <a:r>
                      <a:t>839.45</a:t>
                    </a:r>
                  </a:p>
                </c:rich>
              </c:tx>
              <c:showLegendKey val="0"/>
              <c:showVal val="1"/>
              <c:showCatName val="0"/>
              <c:showSerName val="0"/>
              <c:showPercent val="0"/>
              <c:showBubbleSize val="0"/>
            </c:dLbl>
            <c:dLbl>
              <c:idx val="5"/>
              <c:tx>
                <c:rich>
                  <a:bodyPr/>
                  <a:lstStyle/>
                  <a:p>
                    <a:r>
                      <a:t>635.21</a:t>
                    </a:r>
                  </a:p>
                </c:rich>
              </c:tx>
              <c:showLegendKey val="0"/>
              <c:showVal val="1"/>
              <c:showCatName val="0"/>
              <c:showSerName val="0"/>
              <c:showPercent val="0"/>
              <c:showBubbleSize val="0"/>
            </c:dLbl>
            <c:dLbl>
              <c:idx val="6"/>
              <c:tx>
                <c:rich>
                  <a:bodyPr/>
                  <a:lstStyle/>
                  <a:p>
                    <a:r>
                      <a:t>73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L'Oreal La Roche-Posay Sunscreen Adults Derma Fluido 50+ 50Ml</c:v>
                </c:pt>
                <c:pt idx="2">
                  <c:v>Isdin Isdin Sunscreen Adults Derma Fluido 50+ 50Ml</c:v>
                </c:pt>
                <c:pt idx="3">
                  <c:v>Pierre Fabre Avene Sunscreen Adults Derma Fluido 50+ 50Ml</c:v>
                </c:pt>
                <c:pt idx="4">
                  <c:v>Pierre Fabre Avene Sunscreen Adults Derma Fluido 50+ 40Ml</c:v>
                </c:pt>
                <c:pt idx="5">
                  <c:v>Isdin Isdin Sunscreen Baby Derma Fluido 50 50Ml</c:v>
                </c:pt>
                <c:pt idx="6">
                  <c:v>L'Oreal La Roche-Posay Sunscreen Kids Derma Fluido 50+ 50Ml</c:v>
                </c:pt>
              </c:strCache>
            </c:strRef>
          </c:cat>
          <c:val>
            <c:numRef>
              <c:f>Sheet1!$B$2:$B$8</c:f>
              <c:numCache>
                <c:formatCode>General</c:formatCode>
                <c:ptCount val="7"/>
                <c:pt idx="0">
                  <c:v>322.58</c:v>
                </c:pt>
                <c:pt idx="1">
                  <c:v>633.08</c:v>
                </c:pt>
                <c:pt idx="2">
                  <c:v>652.94</c:v>
                </c:pt>
                <c:pt idx="3">
                  <c:v>771.01</c:v>
                </c:pt>
                <c:pt idx="4">
                  <c:v>839.45</c:v>
                </c:pt>
                <c:pt idx="5">
                  <c:v>635.21</c:v>
                </c:pt>
                <c:pt idx="6">
                  <c:v>73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8.53</a:t>
                    </a:r>
                  </a:p>
                </c:rich>
              </c:tx>
              <c:showLegendKey val="0"/>
              <c:showVal val="1"/>
              <c:showCatName val="0"/>
              <c:showSerName val="0"/>
              <c:showPercent val="0"/>
              <c:showBubbleSize val="0"/>
            </c:dLbl>
            <c:dLbl>
              <c:idx val="1"/>
              <c:tx>
                <c:rich>
                  <a:bodyPr/>
                  <a:lstStyle/>
                  <a:p>
                    <a:r>
                      <a:t>347.12</a:t>
                    </a:r>
                  </a:p>
                </c:rich>
              </c:tx>
              <c:showLegendKey val="0"/>
              <c:showVal val="1"/>
              <c:showCatName val="0"/>
              <c:showSerName val="0"/>
              <c:showPercent val="0"/>
              <c:showBubbleSize val="0"/>
            </c:dLbl>
            <c:dLbl>
              <c:idx val="2"/>
              <c:tx>
                <c:rich>
                  <a:bodyPr/>
                  <a:lstStyle/>
                  <a:p>
                    <a:r>
                      <a:t>330.0</a:t>
                    </a:r>
                  </a:p>
                </c:rich>
              </c:tx>
              <c:showLegendKey val="0"/>
              <c:showVal val="1"/>
              <c:showCatName val="0"/>
              <c:showSerName val="0"/>
              <c:showPercent val="0"/>
              <c:showBubbleSize val="0"/>
            </c:dLbl>
            <c:dLbl>
              <c:idx val="3"/>
              <c:tx>
                <c:rich>
                  <a:bodyPr/>
                  <a:lstStyle/>
                  <a:p>
                    <a:r>
                      <a:t>325.31</a:t>
                    </a:r>
                  </a:p>
                </c:rich>
              </c:tx>
              <c:showLegendKey val="0"/>
              <c:showVal val="1"/>
              <c:showCatName val="0"/>
              <c:showSerName val="0"/>
              <c:showPercent val="0"/>
              <c:showBubbleSize val="0"/>
            </c:dLbl>
            <c:dLbl>
              <c:idx val="4"/>
              <c:tx>
                <c:rich>
                  <a:bodyPr/>
                  <a:lstStyle/>
                  <a:p>
                    <a:r>
                      <a:t>313.71</a:t>
                    </a:r>
                  </a:p>
                </c:rich>
              </c:tx>
              <c:showLegendKey val="0"/>
              <c:showVal val="1"/>
              <c:showCatName val="0"/>
              <c:showSerName val="0"/>
              <c:showPercent val="0"/>
              <c:showBubbleSize val="0"/>
            </c:dLbl>
            <c:dLbl>
              <c:idx val="5"/>
              <c:tx>
                <c:rich>
                  <a:bodyPr/>
                  <a:lstStyle/>
                  <a:p>
                    <a:r>
                      <a:t>624.67</a:t>
                    </a:r>
                  </a:p>
                </c:rich>
              </c:tx>
              <c:showLegendKey val="0"/>
              <c:showVal val="1"/>
              <c:showCatName val="0"/>
              <c:showSerName val="0"/>
              <c:showPercent val="0"/>
              <c:showBubbleSize val="0"/>
            </c:dLbl>
            <c:dLbl>
              <c:idx val="6"/>
              <c:tx>
                <c:rich>
                  <a:bodyPr/>
                  <a:lstStyle/>
                  <a:p>
                    <a:r>
                      <a:t>720.89</a:t>
                    </a:r>
                  </a:p>
                </c:rich>
              </c:tx>
              <c:showLegendKey val="0"/>
              <c:showVal val="1"/>
              <c:showCatName val="0"/>
              <c:showSerName val="0"/>
              <c:showPercent val="0"/>
              <c:showBubbleSize val="0"/>
            </c:dLbl>
            <c:dLbl>
              <c:idx val="7"/>
              <c:tx>
                <c:rich>
                  <a:bodyPr/>
                  <a:lstStyle/>
                  <a:p>
                    <a:r>
                      <a:t>350.73</a:t>
                    </a:r>
                  </a:p>
                </c:rich>
              </c:tx>
              <c:showLegendKey val="0"/>
              <c:showVal val="1"/>
              <c:showCatName val="0"/>
              <c:showSerName val="0"/>
              <c:showPercent val="0"/>
              <c:showBubbleSize val="0"/>
            </c:dLbl>
            <c:dLbl>
              <c:idx val="8"/>
              <c:tx>
                <c:rich>
                  <a:bodyPr/>
                  <a:lstStyle/>
                  <a:p>
                    <a:r>
                      <a:t>188.72</a:t>
                    </a:r>
                  </a:p>
                </c:rich>
              </c:tx>
              <c:showLegendKey val="0"/>
              <c:showVal val="1"/>
              <c:showCatName val="0"/>
              <c:showSerName val="0"/>
              <c:showPercent val="0"/>
              <c:showBubbleSize val="0"/>
            </c:dLbl>
            <c:dLbl>
              <c:idx val="9"/>
              <c:tx>
                <c:rich>
                  <a:bodyPr/>
                  <a:lstStyle/>
                  <a:p>
                    <a:r>
                      <a:t>342.65</a:t>
                    </a:r>
                  </a:p>
                </c:rich>
              </c:tx>
              <c:showLegendKey val="0"/>
              <c:showVal val="1"/>
              <c:showCatName val="0"/>
              <c:showSerName val="0"/>
              <c:showPercent val="0"/>
              <c:showBubbleSize val="0"/>
            </c:dLbl>
            <c:dLbl>
              <c:idx val="10"/>
              <c:tx>
                <c:rich>
                  <a:bodyPr/>
                  <a:lstStyle/>
                  <a:p>
                    <a:r>
                      <a:t>401.86</a:t>
                    </a:r>
                  </a:p>
                </c:rich>
              </c:tx>
              <c:showLegendKey val="0"/>
              <c:showVal val="1"/>
              <c:showCatName val="0"/>
              <c:showSerName val="0"/>
              <c:showPercent val="0"/>
              <c:showBubbleSize val="0"/>
            </c:dLbl>
            <c:dLbl>
              <c:idx val="11"/>
              <c:tx>
                <c:rich>
                  <a:bodyPr/>
                  <a:lstStyle/>
                  <a:p>
                    <a:r>
                      <a:t>169.24</a:t>
                    </a:r>
                  </a:p>
                </c:rich>
              </c:tx>
              <c:showLegendKey val="0"/>
              <c:showVal val="1"/>
              <c:showCatName val="0"/>
              <c:showSerName val="0"/>
              <c:showPercent val="0"/>
              <c:showBubbleSize val="0"/>
            </c:dLbl>
            <c:dLbl>
              <c:idx val="12"/>
              <c:tx>
                <c:rich>
                  <a:bodyPr/>
                  <a:lstStyle/>
                  <a:p>
                    <a:r>
                      <a:t>1206.0</a:t>
                    </a:r>
                  </a:p>
                </c:rich>
              </c:tx>
              <c:showLegendKey val="0"/>
              <c:showVal val="1"/>
              <c:showCatName val="0"/>
              <c:showSerName val="0"/>
              <c:showPercent val="0"/>
              <c:showBubbleSize val="0"/>
            </c:dLbl>
            <c:dLbl>
              <c:idx val="13"/>
              <c:tx>
                <c:rich>
                  <a:bodyPr/>
                  <a:lstStyle/>
                  <a:p>
                    <a:r>
                      <a:t>677.78</a:t>
                    </a:r>
                  </a:p>
                </c:rich>
              </c:tx>
              <c:showLegendKey val="0"/>
              <c:showVal val="1"/>
              <c:showCatName val="0"/>
              <c:showSerName val="0"/>
              <c:showPercent val="0"/>
              <c:showBubbleSize val="0"/>
            </c:dLbl>
            <c:dLbl>
              <c:idx val="14"/>
              <c:tx>
                <c:rich>
                  <a:bodyPr/>
                  <a:lstStyle/>
                  <a:p>
                    <a:r>
                      <a:t>609.89</a:t>
                    </a:r>
                  </a:p>
                </c:rich>
              </c:tx>
              <c:showLegendKey val="0"/>
              <c:showVal val="1"/>
              <c:showCatName val="0"/>
              <c:showSerName val="0"/>
              <c:showPercent val="0"/>
              <c:showBubbleSize val="0"/>
            </c:dLbl>
            <c:dLbl>
              <c:idx val="15"/>
              <c:tx>
                <c:rich>
                  <a:bodyPr/>
                  <a:lstStyle/>
                  <a:p>
                    <a:r>
                      <a:t>593.0</a:t>
                    </a:r>
                  </a:p>
                </c:rich>
              </c:tx>
              <c:showLegendKey val="0"/>
              <c:showVal val="1"/>
              <c:showCatName val="0"/>
              <c:showSerName val="0"/>
              <c:showPercent val="0"/>
              <c:showBubbleSize val="0"/>
            </c:dLbl>
            <c:dLbl>
              <c:idx val="16"/>
              <c:tx>
                <c:rich>
                  <a:bodyPr/>
                  <a:lstStyle/>
                  <a:p>
                    <a:r>
                      <a:t>286.1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zono Sunscreen Adults Cosmetics Liquido 50+ 240Ml</c:v>
                </c:pt>
                <c:pt idx="1">
                  <c:v>Edgewell Hawaiian Tropic Island Sport Sunscreen Adults Sport Spray Liquido 50 220Ml</c:v>
                </c:pt>
                <c:pt idx="2">
                  <c:v>Edgewell Hawaiian Tropic Island Sport Sunscreen Adults Sport Liquido 50 240Ml</c:v>
                </c:pt>
                <c:pt idx="3">
                  <c:v>Edgewell Hawaiian Tropic Ozono Sunscreen Adults Cosmetics Spray Liquido 50+ 180Ml</c:v>
                </c:pt>
                <c:pt idx="4">
                  <c:v>Edgewell Hawaiian Tropic Tanning Sunscreen Adults Cosmetics Spray Liquido 15 - 19 220Ml</c:v>
                </c:pt>
                <c:pt idx="5">
                  <c:v>Isdin Isdin Sunscreen Adults Derma Spray Liquido 50 100Ml</c:v>
                </c:pt>
                <c:pt idx="6">
                  <c:v>Isdin Isdin Sunscreen Adults Derma Liquido 30 - 49 50Ml</c:v>
                </c:pt>
                <c:pt idx="7">
                  <c:v>Beiersdorf Nivea Sunscreen Adults Cosmetics Liquido 50 200Ml</c:v>
                </c:pt>
                <c:pt idx="8">
                  <c:v>Beiersdorf Nivea Sunscreen Adults Cosmetics Liquido 50+ 125Ml</c:v>
                </c:pt>
                <c:pt idx="9">
                  <c:v>Beiersdorf Nivea Sunscreen Kids Cosmetics Liquido 50+ 200Ml</c:v>
                </c:pt>
                <c:pt idx="10">
                  <c:v>Beiersdorf Nivea Sunscreen Adults Cosmetics Spray Liquido 50 200Ml</c:v>
                </c:pt>
                <c:pt idx="11">
                  <c:v>Beiersdorf Nivea Sunscreen Kids Cosmetics Liquido 50+ 125Ml</c:v>
                </c:pt>
                <c:pt idx="12">
                  <c:v>Others Fabricante Unif. Others Marca Unif. Sunscreen Adults Cosmetics Liquido 30 - 49 50Ml</c:v>
                </c:pt>
                <c:pt idx="13">
                  <c:v>Others Fabricante Unif. Others Marca Unif. Sunscreen Adults Derma Spray Liquido 50+ 120Ml</c:v>
                </c:pt>
                <c:pt idx="14">
                  <c:v>Others Fabricante Unif. Others Marca Unif. Sunscreen Adults Derma Liquido 50+ 50Ml</c:v>
                </c:pt>
                <c:pt idx="15">
                  <c:v>Others Fabricante Unif. Others Marca Unif. Sunscreen Adults Derma Spray Liquido 50+ 200Ml</c:v>
                </c:pt>
                <c:pt idx="16">
                  <c:v>Others Fabricante Unif. Others Marca Unif. Sunscreen Adults Cosmetics Spray Liquido 50 200Ml</c:v>
                </c:pt>
              </c:strCache>
            </c:strRef>
          </c:cat>
          <c:val>
            <c:numRef>
              <c:f>Sheet1!$B$2:$B$18</c:f>
              <c:numCache>
                <c:formatCode>General</c:formatCode>
                <c:ptCount val="17"/>
                <c:pt idx="0">
                  <c:v>318.53</c:v>
                </c:pt>
                <c:pt idx="1">
                  <c:v>347.12</c:v>
                </c:pt>
                <c:pt idx="2">
                  <c:v>330.0</c:v>
                </c:pt>
                <c:pt idx="3">
                  <c:v>325.31</c:v>
                </c:pt>
                <c:pt idx="4">
                  <c:v>313.71</c:v>
                </c:pt>
                <c:pt idx="5">
                  <c:v>624.67</c:v>
                </c:pt>
                <c:pt idx="6">
                  <c:v>720.89</c:v>
                </c:pt>
                <c:pt idx="7">
                  <c:v>350.73</c:v>
                </c:pt>
                <c:pt idx="8">
                  <c:v>188.72</c:v>
                </c:pt>
                <c:pt idx="9">
                  <c:v>342.65</c:v>
                </c:pt>
                <c:pt idx="10">
                  <c:v>401.86</c:v>
                </c:pt>
                <c:pt idx="11">
                  <c:v>169.24</c:v>
                </c:pt>
                <c:pt idx="12">
                  <c:v>1206.0</c:v>
                </c:pt>
                <c:pt idx="13">
                  <c:v>677.78</c:v>
                </c:pt>
                <c:pt idx="14">
                  <c:v>609.89</c:v>
                </c:pt>
                <c:pt idx="15">
                  <c:v>593.0</c:v>
                </c:pt>
                <c:pt idx="16">
                  <c:v>286.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9.09</a:t>
                    </a:r>
                  </a:p>
                </c:rich>
              </c:tx>
              <c:showLegendKey val="0"/>
              <c:showVal val="1"/>
              <c:showCatName val="0"/>
              <c:showSerName val="0"/>
              <c:showPercent val="0"/>
              <c:showBubbleSize val="0"/>
            </c:dLbl>
            <c:dLbl>
              <c:idx val="1"/>
              <c:tx>
                <c:rich>
                  <a:bodyPr/>
                  <a:lstStyle/>
                  <a:p>
                    <a:r>
                      <a:t>330.54</a:t>
                    </a:r>
                  </a:p>
                </c:rich>
              </c:tx>
              <c:showLegendKey val="0"/>
              <c:showVal val="1"/>
              <c:showCatName val="0"/>
              <c:showSerName val="0"/>
              <c:showPercent val="0"/>
              <c:showBubbleSize val="0"/>
            </c:dLbl>
            <c:dLbl>
              <c:idx val="2"/>
              <c:tx>
                <c:rich>
                  <a:bodyPr/>
                  <a:lstStyle/>
                  <a:p>
                    <a:r>
                      <a:t>329.19</a:t>
                    </a:r>
                  </a:p>
                </c:rich>
              </c:tx>
              <c:showLegendKey val="0"/>
              <c:showVal val="1"/>
              <c:showCatName val="0"/>
              <c:showSerName val="0"/>
              <c:showPercent val="0"/>
              <c:showBubbleSize val="0"/>
            </c:dLbl>
            <c:dLbl>
              <c:idx val="3"/>
              <c:tx>
                <c:rich>
                  <a:bodyPr/>
                  <a:lstStyle/>
                  <a:p>
                    <a:r>
                      <a:t>91.75</a:t>
                    </a:r>
                  </a:p>
                </c:rich>
              </c:tx>
              <c:showLegendKey val="0"/>
              <c:showVal val="1"/>
              <c:showCatName val="0"/>
              <c:showSerName val="0"/>
              <c:showPercent val="0"/>
              <c:showBubbleSize val="0"/>
            </c:dLbl>
            <c:dLbl>
              <c:idx val="4"/>
              <c:tx>
                <c:rich>
                  <a:bodyPr/>
                  <a:lstStyle/>
                  <a:p>
                    <a:r>
                      <a:t>259.12</a:t>
                    </a:r>
                  </a:p>
                </c:rich>
              </c:tx>
              <c:showLegendKey val="0"/>
              <c:showVal val="1"/>
              <c:showCatName val="0"/>
              <c:showSerName val="0"/>
              <c:showPercent val="0"/>
              <c:showBubbleSize val="0"/>
            </c:dLbl>
            <c:dLbl>
              <c:idx val="5"/>
              <c:tx>
                <c:rich>
                  <a:bodyPr/>
                  <a:lstStyle/>
                  <a:p>
                    <a:r>
                      <a:t>624.67</a:t>
                    </a:r>
                  </a:p>
                </c:rich>
              </c:tx>
              <c:showLegendKey val="0"/>
              <c:showVal val="1"/>
              <c:showCatName val="0"/>
              <c:showSerName val="0"/>
              <c:showPercent val="0"/>
              <c:showBubbleSize val="0"/>
            </c:dLbl>
            <c:dLbl>
              <c:idx val="6"/>
              <c:tx>
                <c:rich>
                  <a:bodyPr/>
                  <a:lstStyle/>
                  <a:p>
                    <a:r>
                      <a:t>720.89</a:t>
                    </a:r>
                  </a:p>
                </c:rich>
              </c:tx>
              <c:showLegendKey val="0"/>
              <c:showVal val="1"/>
              <c:showCatName val="0"/>
              <c:showSerName val="0"/>
              <c:showPercent val="0"/>
              <c:showBubbleSize val="0"/>
            </c:dLbl>
            <c:dLbl>
              <c:idx val="7"/>
              <c:tx>
                <c:rich>
                  <a:bodyPr/>
                  <a:lstStyle/>
                  <a:p>
                    <a:r>
                      <a:t>350.73</a:t>
                    </a:r>
                  </a:p>
                </c:rich>
              </c:tx>
              <c:showLegendKey val="0"/>
              <c:showVal val="1"/>
              <c:showCatName val="0"/>
              <c:showSerName val="0"/>
              <c:showPercent val="0"/>
              <c:showBubbleSize val="0"/>
            </c:dLbl>
            <c:dLbl>
              <c:idx val="8"/>
              <c:tx>
                <c:rich>
                  <a:bodyPr/>
                  <a:lstStyle/>
                  <a:p>
                    <a:r>
                      <a:t>188.72</a:t>
                    </a:r>
                  </a:p>
                </c:rich>
              </c:tx>
              <c:showLegendKey val="0"/>
              <c:showVal val="1"/>
              <c:showCatName val="0"/>
              <c:showSerName val="0"/>
              <c:showPercent val="0"/>
              <c:showBubbleSize val="0"/>
            </c:dLbl>
            <c:dLbl>
              <c:idx val="9"/>
              <c:tx>
                <c:rich>
                  <a:bodyPr/>
                  <a:lstStyle/>
                  <a:p>
                    <a:r>
                      <a:t>342.65</a:t>
                    </a:r>
                  </a:p>
                </c:rich>
              </c:tx>
              <c:showLegendKey val="0"/>
              <c:showVal val="1"/>
              <c:showCatName val="0"/>
              <c:showSerName val="0"/>
              <c:showPercent val="0"/>
              <c:showBubbleSize val="0"/>
            </c:dLbl>
            <c:dLbl>
              <c:idx val="10"/>
              <c:tx>
                <c:rich>
                  <a:bodyPr/>
                  <a:lstStyle/>
                  <a:p>
                    <a:r>
                      <a:t>401.86</a:t>
                    </a:r>
                  </a:p>
                </c:rich>
              </c:tx>
              <c:showLegendKey val="0"/>
              <c:showVal val="1"/>
              <c:showCatName val="0"/>
              <c:showSerName val="0"/>
              <c:showPercent val="0"/>
              <c:showBubbleSize val="0"/>
            </c:dLbl>
            <c:dLbl>
              <c:idx val="11"/>
              <c:tx>
                <c:rich>
                  <a:bodyPr/>
                  <a:lstStyle/>
                  <a:p>
                    <a:r>
                      <a:t>169.24</a:t>
                    </a:r>
                  </a:p>
                </c:rich>
              </c:tx>
              <c:showLegendKey val="0"/>
              <c:showVal val="1"/>
              <c:showCatName val="0"/>
              <c:showSerName val="0"/>
              <c:showPercent val="0"/>
              <c:showBubbleSize val="0"/>
            </c:dLbl>
            <c:dLbl>
              <c:idx val="12"/>
              <c:tx>
                <c:rich>
                  <a:bodyPr/>
                  <a:lstStyle/>
                  <a:p>
                    <a:r>
                      <a:t>1206.0</a:t>
                    </a:r>
                  </a:p>
                </c:rich>
              </c:tx>
              <c:showLegendKey val="0"/>
              <c:showVal val="1"/>
              <c:showCatName val="0"/>
              <c:showSerName val="0"/>
              <c:showPercent val="0"/>
              <c:showBubbleSize val="0"/>
            </c:dLbl>
            <c:dLbl>
              <c:idx val="13"/>
              <c:tx>
                <c:rich>
                  <a:bodyPr/>
                  <a:lstStyle/>
                  <a:p>
                    <a:r>
                      <a:t>677.78</a:t>
                    </a:r>
                  </a:p>
                </c:rich>
              </c:tx>
              <c:showLegendKey val="0"/>
              <c:showVal val="1"/>
              <c:showCatName val="0"/>
              <c:showSerName val="0"/>
              <c:showPercent val="0"/>
              <c:showBubbleSize val="0"/>
            </c:dLbl>
            <c:dLbl>
              <c:idx val="14"/>
              <c:tx>
                <c:rich>
                  <a:bodyPr/>
                  <a:lstStyle/>
                  <a:p>
                    <a:r>
                      <a:t>609.89</a:t>
                    </a:r>
                  </a:p>
                </c:rich>
              </c:tx>
              <c:showLegendKey val="0"/>
              <c:showVal val="1"/>
              <c:showCatName val="0"/>
              <c:showSerName val="0"/>
              <c:showPercent val="0"/>
              <c:showBubbleSize val="0"/>
            </c:dLbl>
            <c:dLbl>
              <c:idx val="15"/>
              <c:tx>
                <c:rich>
                  <a:bodyPr/>
                  <a:lstStyle/>
                  <a:p>
                    <a:r>
                      <a:t>593.0</a:t>
                    </a:r>
                  </a:p>
                </c:rich>
              </c:tx>
              <c:showLegendKey val="0"/>
              <c:showVal val="1"/>
              <c:showCatName val="0"/>
              <c:showSerName val="0"/>
              <c:showPercent val="0"/>
              <c:showBubbleSize val="0"/>
            </c:dLbl>
            <c:dLbl>
              <c:idx val="16"/>
              <c:tx>
                <c:rich>
                  <a:bodyPr/>
                  <a:lstStyle/>
                  <a:p>
                    <a:r>
                      <a:t>286.1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anana Boat Aqua Protect Sunscreen Adults Cosmetics Spray Liquido 50+ 170Ml</c:v>
                </c:pt>
                <c:pt idx="1">
                  <c:v>Edgewell Banana Boat Advanced Protection Sunscreen Adults Cosmetics Liquido 50+ 240Ml</c:v>
                </c:pt>
                <c:pt idx="2">
                  <c:v>Edgewell Banana Boat Dry Balance Sunscreen Adults Sport Spray Liquido 50 220Ml</c:v>
                </c:pt>
                <c:pt idx="3">
                  <c:v>Edgewell Banana Boat Advanced Protection Sunscreen Adults Cosmetics Liquido 50+ 60Ml</c:v>
                </c:pt>
                <c:pt idx="4">
                  <c:v>Edgewell Banana Boat Advanced Protection Sunscreen Adults Cosmetics Liquido 50 180Ml</c:v>
                </c:pt>
                <c:pt idx="5">
                  <c:v>Isdin Isdin Sunscreen Adults Derma Spray Liquido 50 100Ml</c:v>
                </c:pt>
                <c:pt idx="6">
                  <c:v>Isdin Isdin Sunscreen Adults Derma Liquido 30 - 49 50Ml</c:v>
                </c:pt>
                <c:pt idx="7">
                  <c:v>Beiersdorf Nivea Sunscreen Adults Cosmetics Liquido 50 200Ml</c:v>
                </c:pt>
                <c:pt idx="8">
                  <c:v>Beiersdorf Nivea Sunscreen Adults Cosmetics Liquido 50+ 125Ml</c:v>
                </c:pt>
                <c:pt idx="9">
                  <c:v>Beiersdorf Nivea Sunscreen Kids Cosmetics Liquido 50+ 200Ml</c:v>
                </c:pt>
                <c:pt idx="10">
                  <c:v>Beiersdorf Nivea Sunscreen Adults Cosmetics Spray Liquido 50 200Ml</c:v>
                </c:pt>
                <c:pt idx="11">
                  <c:v>Beiersdorf Nivea Sunscreen Kids Cosmetics Liquido 50+ 125Ml</c:v>
                </c:pt>
                <c:pt idx="12">
                  <c:v>Others Fabricante Unif. Others Marca Unif. Sunscreen Adults Cosmetics Liquido 30 - 49 50Ml</c:v>
                </c:pt>
                <c:pt idx="13">
                  <c:v>Others Fabricante Unif. Others Marca Unif. Sunscreen Adults Derma Spray Liquido 50+ 120Ml</c:v>
                </c:pt>
                <c:pt idx="14">
                  <c:v>Others Fabricante Unif. Others Marca Unif. Sunscreen Adults Derma Liquido 50+ 50Ml</c:v>
                </c:pt>
                <c:pt idx="15">
                  <c:v>Others Fabricante Unif. Others Marca Unif. Sunscreen Adults Derma Spray Liquido 50+ 200Ml</c:v>
                </c:pt>
                <c:pt idx="16">
                  <c:v>Others Fabricante Unif. Others Marca Unif. Sunscreen Adults Cosmetics Spray Liquido 50 200Ml</c:v>
                </c:pt>
              </c:strCache>
            </c:strRef>
          </c:cat>
          <c:val>
            <c:numRef>
              <c:f>Sheet1!$B$2:$B$18</c:f>
              <c:numCache>
                <c:formatCode>General</c:formatCode>
                <c:ptCount val="17"/>
                <c:pt idx="0">
                  <c:v>339.09</c:v>
                </c:pt>
                <c:pt idx="1">
                  <c:v>330.54</c:v>
                </c:pt>
                <c:pt idx="2">
                  <c:v>329.19</c:v>
                </c:pt>
                <c:pt idx="3">
                  <c:v>91.75</c:v>
                </c:pt>
                <c:pt idx="4">
                  <c:v>259.12</c:v>
                </c:pt>
                <c:pt idx="5">
                  <c:v>624.67</c:v>
                </c:pt>
                <c:pt idx="6">
                  <c:v>720.89</c:v>
                </c:pt>
                <c:pt idx="7">
                  <c:v>350.73</c:v>
                </c:pt>
                <c:pt idx="8">
                  <c:v>188.72</c:v>
                </c:pt>
                <c:pt idx="9">
                  <c:v>342.65</c:v>
                </c:pt>
                <c:pt idx="10">
                  <c:v>401.86</c:v>
                </c:pt>
                <c:pt idx="11">
                  <c:v>169.24</c:v>
                </c:pt>
                <c:pt idx="12">
                  <c:v>1206.0</c:v>
                </c:pt>
                <c:pt idx="13">
                  <c:v>677.78</c:v>
                </c:pt>
                <c:pt idx="14">
                  <c:v>609.89</c:v>
                </c:pt>
                <c:pt idx="15">
                  <c:v>593.0</c:v>
                </c:pt>
                <c:pt idx="16">
                  <c:v>286.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48</a:t>
                    </a:r>
                  </a:p>
                </c:rich>
              </c:tx>
              <c:showLegendKey val="0"/>
              <c:showVal val="1"/>
              <c:showCatName val="0"/>
              <c:showSerName val="0"/>
              <c:showPercent val="0"/>
              <c:showBubbleSize val="0"/>
            </c:dLbl>
            <c:dLbl>
              <c:idx val="1"/>
              <c:tx>
                <c:rich>
                  <a:bodyPr/>
                  <a:lstStyle/>
                  <a:p>
                    <a:r>
                      <a:t>363.49</a:t>
                    </a:r>
                  </a:p>
                </c:rich>
              </c:tx>
              <c:showLegendKey val="0"/>
              <c:showVal val="1"/>
              <c:showCatName val="0"/>
              <c:showSerName val="0"/>
              <c:showPercent val="0"/>
              <c:showBubbleSize val="0"/>
            </c:dLbl>
            <c:dLbl>
              <c:idx val="2"/>
              <c:tx>
                <c:rich>
                  <a:bodyPr/>
                  <a:lstStyle/>
                  <a:p>
                    <a:r>
                      <a:t>362.74</a:t>
                    </a:r>
                  </a:p>
                </c:rich>
              </c:tx>
              <c:showLegendKey val="0"/>
              <c:showVal val="1"/>
              <c:showCatName val="0"/>
              <c:showSerName val="0"/>
              <c:showPercent val="0"/>
              <c:showBubbleSize val="0"/>
            </c:dLbl>
            <c:dLbl>
              <c:idx val="3"/>
              <c:tx>
                <c:rich>
                  <a:bodyPr/>
                  <a:lstStyle/>
                  <a:p>
                    <a:r>
                      <a:t>400.18</a:t>
                    </a:r>
                  </a:p>
                </c:rich>
              </c:tx>
              <c:showLegendKey val="0"/>
              <c:showVal val="1"/>
              <c:showCatName val="0"/>
              <c:showSerName val="0"/>
              <c:showPercent val="0"/>
              <c:showBubbleSize val="0"/>
            </c:dLbl>
            <c:dLbl>
              <c:idx val="4"/>
              <c:tx>
                <c:rich>
                  <a:bodyPr/>
                  <a:lstStyle/>
                  <a:p>
                    <a:r>
                      <a:t>427.0</a:t>
                    </a:r>
                  </a:p>
                </c:rich>
              </c:tx>
              <c:showLegendKey val="0"/>
              <c:showVal val="1"/>
              <c:showCatName val="0"/>
              <c:showSerName val="0"/>
              <c:showPercent val="0"/>
              <c:showBubbleSize val="0"/>
            </c:dLbl>
            <c:dLbl>
              <c:idx val="5"/>
              <c:tx>
                <c:rich>
                  <a:bodyPr/>
                  <a:lstStyle/>
                  <a:p>
                    <a:r>
                      <a:t>624.67</a:t>
                    </a:r>
                  </a:p>
                </c:rich>
              </c:tx>
              <c:showLegendKey val="0"/>
              <c:showVal val="1"/>
              <c:showCatName val="0"/>
              <c:showSerName val="0"/>
              <c:showPercent val="0"/>
              <c:showBubbleSize val="0"/>
            </c:dLbl>
            <c:dLbl>
              <c:idx val="6"/>
              <c:tx>
                <c:rich>
                  <a:bodyPr/>
                  <a:lstStyle/>
                  <a:p>
                    <a:r>
                      <a:t>720.89</a:t>
                    </a:r>
                  </a:p>
                </c:rich>
              </c:tx>
              <c:showLegendKey val="0"/>
              <c:showVal val="1"/>
              <c:showCatName val="0"/>
              <c:showSerName val="0"/>
              <c:showPercent val="0"/>
              <c:showBubbleSize val="0"/>
            </c:dLbl>
            <c:dLbl>
              <c:idx val="7"/>
              <c:tx>
                <c:rich>
                  <a:bodyPr/>
                  <a:lstStyle/>
                  <a:p>
                    <a:r>
                      <a:t>350.73</a:t>
                    </a:r>
                  </a:p>
                </c:rich>
              </c:tx>
              <c:showLegendKey val="0"/>
              <c:showVal val="1"/>
              <c:showCatName val="0"/>
              <c:showSerName val="0"/>
              <c:showPercent val="0"/>
              <c:showBubbleSize val="0"/>
            </c:dLbl>
            <c:dLbl>
              <c:idx val="8"/>
              <c:tx>
                <c:rich>
                  <a:bodyPr/>
                  <a:lstStyle/>
                  <a:p>
                    <a:r>
                      <a:t>188.72</a:t>
                    </a:r>
                  </a:p>
                </c:rich>
              </c:tx>
              <c:showLegendKey val="0"/>
              <c:showVal val="1"/>
              <c:showCatName val="0"/>
              <c:showSerName val="0"/>
              <c:showPercent val="0"/>
              <c:showBubbleSize val="0"/>
            </c:dLbl>
            <c:dLbl>
              <c:idx val="9"/>
              <c:tx>
                <c:rich>
                  <a:bodyPr/>
                  <a:lstStyle/>
                  <a:p>
                    <a:r>
                      <a:t>342.65</a:t>
                    </a:r>
                  </a:p>
                </c:rich>
              </c:tx>
              <c:showLegendKey val="0"/>
              <c:showVal val="1"/>
              <c:showCatName val="0"/>
              <c:showSerName val="0"/>
              <c:showPercent val="0"/>
              <c:showBubbleSize val="0"/>
            </c:dLbl>
            <c:dLbl>
              <c:idx val="10"/>
              <c:tx>
                <c:rich>
                  <a:bodyPr/>
                  <a:lstStyle/>
                  <a:p>
                    <a:r>
                      <a:t>401.86</a:t>
                    </a:r>
                  </a:p>
                </c:rich>
              </c:tx>
              <c:showLegendKey val="0"/>
              <c:showVal val="1"/>
              <c:showCatName val="0"/>
              <c:showSerName val="0"/>
              <c:showPercent val="0"/>
              <c:showBubbleSize val="0"/>
            </c:dLbl>
            <c:dLbl>
              <c:idx val="11"/>
              <c:tx>
                <c:rich>
                  <a:bodyPr/>
                  <a:lstStyle/>
                  <a:p>
                    <a:r>
                      <a:t>169.24</a:t>
                    </a:r>
                  </a:p>
                </c:rich>
              </c:tx>
              <c:showLegendKey val="0"/>
              <c:showVal val="1"/>
              <c:showCatName val="0"/>
              <c:showSerName val="0"/>
              <c:showPercent val="0"/>
              <c:showBubbleSize val="0"/>
            </c:dLbl>
            <c:dLbl>
              <c:idx val="12"/>
              <c:tx>
                <c:rich>
                  <a:bodyPr/>
                  <a:lstStyle/>
                  <a:p>
                    <a:r>
                      <a:t>1206.0</a:t>
                    </a:r>
                  </a:p>
                </c:rich>
              </c:tx>
              <c:showLegendKey val="0"/>
              <c:showVal val="1"/>
              <c:showCatName val="0"/>
              <c:showSerName val="0"/>
              <c:showPercent val="0"/>
              <c:showBubbleSize val="0"/>
            </c:dLbl>
            <c:dLbl>
              <c:idx val="13"/>
              <c:tx>
                <c:rich>
                  <a:bodyPr/>
                  <a:lstStyle/>
                  <a:p>
                    <a:r>
                      <a:t>677.78</a:t>
                    </a:r>
                  </a:p>
                </c:rich>
              </c:tx>
              <c:showLegendKey val="0"/>
              <c:showVal val="1"/>
              <c:showCatName val="0"/>
              <c:showSerName val="0"/>
              <c:showPercent val="0"/>
              <c:showBubbleSize val="0"/>
            </c:dLbl>
            <c:dLbl>
              <c:idx val="14"/>
              <c:tx>
                <c:rich>
                  <a:bodyPr/>
                  <a:lstStyle/>
                  <a:p>
                    <a:r>
                      <a:t>609.89</a:t>
                    </a:r>
                  </a:p>
                </c:rich>
              </c:tx>
              <c:showLegendKey val="0"/>
              <c:showVal val="1"/>
              <c:showCatName val="0"/>
              <c:showSerName val="0"/>
              <c:showPercent val="0"/>
              <c:showBubbleSize val="0"/>
            </c:dLbl>
            <c:dLbl>
              <c:idx val="15"/>
              <c:tx>
                <c:rich>
                  <a:bodyPr/>
                  <a:lstStyle/>
                  <a:p>
                    <a:r>
                      <a:t>593.0</a:t>
                    </a:r>
                  </a:p>
                </c:rich>
              </c:tx>
              <c:showLegendKey val="0"/>
              <c:showVal val="1"/>
              <c:showCatName val="0"/>
              <c:showSerName val="0"/>
              <c:showPercent val="0"/>
              <c:showBubbleSize val="0"/>
            </c:dLbl>
            <c:dLbl>
              <c:idx val="16"/>
              <c:tx>
                <c:rich>
                  <a:bodyPr/>
                  <a:lstStyle/>
                  <a:p>
                    <a:r>
                      <a:t>286.1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Sensitive Sunscreen Adults Cosmetics Liquido 50+ 180Ml</c:v>
                </c:pt>
                <c:pt idx="4">
                  <c:v>Edgewell Beauty Care Antioxidant Sunscreen Adults Cosmetics Liquido 50+ 180Ml</c:v>
                </c:pt>
                <c:pt idx="5">
                  <c:v>Isdin Isdin Sunscreen Adults Derma Spray Liquido 50 100Ml</c:v>
                </c:pt>
                <c:pt idx="6">
                  <c:v>Isdin Isdin Sunscreen Adults Derma Liquido 30 - 49 50Ml</c:v>
                </c:pt>
                <c:pt idx="7">
                  <c:v>Beiersdorf Nivea Sunscreen Adults Cosmetics Liquido 50 200Ml</c:v>
                </c:pt>
                <c:pt idx="8">
                  <c:v>Beiersdorf Nivea Sunscreen Adults Cosmetics Liquido 50+ 125Ml</c:v>
                </c:pt>
                <c:pt idx="9">
                  <c:v>Beiersdorf Nivea Sunscreen Kids Cosmetics Liquido 50+ 200Ml</c:v>
                </c:pt>
                <c:pt idx="10">
                  <c:v>Beiersdorf Nivea Sunscreen Adults Cosmetics Spray Liquido 50 200Ml</c:v>
                </c:pt>
                <c:pt idx="11">
                  <c:v>Beiersdorf Nivea Sunscreen Kids Cosmetics Liquido 50+ 125Ml</c:v>
                </c:pt>
                <c:pt idx="12">
                  <c:v>Others Fabricante Unif. Others Marca Unif. Sunscreen Adults Cosmetics Liquido 30 - 49 50Ml</c:v>
                </c:pt>
                <c:pt idx="13">
                  <c:v>Others Fabricante Unif. Others Marca Unif. Sunscreen Adults Derma Spray Liquido 50+ 120Ml</c:v>
                </c:pt>
                <c:pt idx="14">
                  <c:v>Others Fabricante Unif. Others Marca Unif. Sunscreen Adults Derma Liquido 50+ 50Ml</c:v>
                </c:pt>
                <c:pt idx="15">
                  <c:v>Others Fabricante Unif. Others Marca Unif. Sunscreen Adults Derma Spray Liquido 50+ 200Ml</c:v>
                </c:pt>
                <c:pt idx="16">
                  <c:v>Others Fabricante Unif. Others Marca Unif. Sunscreen Adults Cosmetics Spray Liquido 50 200Ml</c:v>
                </c:pt>
              </c:strCache>
            </c:strRef>
          </c:cat>
          <c:val>
            <c:numRef>
              <c:f>Sheet1!$B$2:$B$18</c:f>
              <c:numCache>
                <c:formatCode>General</c:formatCode>
                <c:ptCount val="17"/>
                <c:pt idx="0">
                  <c:v>345.48</c:v>
                </c:pt>
                <c:pt idx="1">
                  <c:v>363.49</c:v>
                </c:pt>
                <c:pt idx="2">
                  <c:v>362.74</c:v>
                </c:pt>
                <c:pt idx="3">
                  <c:v>400.18</c:v>
                </c:pt>
                <c:pt idx="4">
                  <c:v>427.0</c:v>
                </c:pt>
                <c:pt idx="5">
                  <c:v>624.67</c:v>
                </c:pt>
                <c:pt idx="6">
                  <c:v>720.89</c:v>
                </c:pt>
                <c:pt idx="7">
                  <c:v>350.73</c:v>
                </c:pt>
                <c:pt idx="8">
                  <c:v>188.72</c:v>
                </c:pt>
                <c:pt idx="9">
                  <c:v>342.65</c:v>
                </c:pt>
                <c:pt idx="10">
                  <c:v>401.86</c:v>
                </c:pt>
                <c:pt idx="11">
                  <c:v>169.24</c:v>
                </c:pt>
                <c:pt idx="12">
                  <c:v>1206.0</c:v>
                </c:pt>
                <c:pt idx="13">
                  <c:v>677.78</c:v>
                </c:pt>
                <c:pt idx="14">
                  <c:v>609.89</c:v>
                </c:pt>
                <c:pt idx="15">
                  <c:v>593.0</c:v>
                </c:pt>
                <c:pt idx="16">
                  <c:v>286.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9.99</a:t>
                    </a:r>
                  </a:p>
                </c:rich>
              </c:tx>
              <c:showLegendKey val="0"/>
              <c:showVal val="1"/>
              <c:showCatName val="0"/>
              <c:showSerName val="0"/>
              <c:showPercent val="0"/>
              <c:showBubbleSize val="0"/>
            </c:dLbl>
            <c:dLbl>
              <c:idx val="1"/>
              <c:tx>
                <c:rich>
                  <a:bodyPr/>
                  <a:lstStyle/>
                  <a:p>
                    <a:r>
                      <a:t>417.8</a:t>
                    </a:r>
                  </a:p>
                </c:rich>
              </c:tx>
              <c:showLegendKey val="0"/>
              <c:showVal val="1"/>
              <c:showCatName val="0"/>
              <c:showSerName val="0"/>
              <c:showPercent val="0"/>
              <c:showBubbleSize val="0"/>
            </c:dLbl>
            <c:dLbl>
              <c:idx val="2"/>
              <c:tx>
                <c:rich>
                  <a:bodyPr/>
                  <a:lstStyle/>
                  <a:p>
                    <a:r>
                      <a:t>358.05</a:t>
                    </a:r>
                  </a:p>
                </c:rich>
              </c:tx>
              <c:showLegendKey val="0"/>
              <c:showVal val="1"/>
              <c:showCatName val="0"/>
              <c:showSerName val="0"/>
              <c:showPercent val="0"/>
              <c:showBubbleSize val="0"/>
            </c:dLbl>
            <c:dLbl>
              <c:idx val="3"/>
              <c:tx>
                <c:rich>
                  <a:bodyPr/>
                  <a:lstStyle/>
                  <a:p>
                    <a:r>
                      <a:t>362.05</a:t>
                    </a:r>
                  </a:p>
                </c:rich>
              </c:tx>
              <c:showLegendKey val="0"/>
              <c:showVal val="1"/>
              <c:showCatName val="0"/>
              <c:showSerName val="0"/>
              <c:showPercent val="0"/>
              <c:showBubbleSize val="0"/>
            </c:dLbl>
            <c:dLbl>
              <c:idx val="4"/>
              <c:tx>
                <c:rich>
                  <a:bodyPr/>
                  <a:lstStyle/>
                  <a:p>
                    <a:r>
                      <a:t>88.14</a:t>
                    </a:r>
                  </a:p>
                </c:rich>
              </c:tx>
              <c:showLegendKey val="0"/>
              <c:showVal val="1"/>
              <c:showCatName val="0"/>
              <c:showSerName val="0"/>
              <c:showPercent val="0"/>
              <c:showBubbleSize val="0"/>
            </c:dLbl>
            <c:dLbl>
              <c:idx val="5"/>
              <c:tx>
                <c:rich>
                  <a:bodyPr/>
                  <a:lstStyle/>
                  <a:p>
                    <a:r>
                      <a:t>683.05</a:t>
                    </a:r>
                  </a:p>
                </c:rich>
              </c:tx>
              <c:showLegendKey val="0"/>
              <c:showVal val="1"/>
              <c:showCatName val="0"/>
              <c:showSerName val="0"/>
              <c:showPercent val="0"/>
              <c:showBubbleSize val="0"/>
            </c:dLbl>
            <c:dLbl>
              <c:idx val="6"/>
              <c:tx>
                <c:rich>
                  <a:bodyPr/>
                  <a:lstStyle/>
                  <a:p>
                    <a:r>
                      <a:t>312.96</a:t>
                    </a:r>
                  </a:p>
                </c:rich>
              </c:tx>
              <c:showLegendKey val="0"/>
              <c:showVal val="1"/>
              <c:showCatName val="0"/>
              <c:showSerName val="0"/>
              <c:showPercent val="0"/>
              <c:showBubbleSize val="0"/>
            </c:dLbl>
            <c:dLbl>
              <c:idx val="7"/>
              <c:tx>
                <c:rich>
                  <a:bodyPr/>
                  <a:lstStyle/>
                  <a:p>
                    <a:r>
                      <a:t>286.15</a:t>
                    </a:r>
                  </a:p>
                </c:rich>
              </c:tx>
              <c:showLegendKey val="0"/>
              <c:showVal val="1"/>
              <c:showCatName val="0"/>
              <c:showSerName val="0"/>
              <c:showPercent val="0"/>
              <c:showBubbleSize val="0"/>
            </c:dLbl>
            <c:dLbl>
              <c:idx val="8"/>
              <c:tx>
                <c:rich>
                  <a:bodyPr/>
                  <a:lstStyle/>
                  <a:p>
                    <a:r>
                      <a:t>617.14</a:t>
                    </a:r>
                  </a:p>
                </c:rich>
              </c:tx>
              <c:showLegendKey val="0"/>
              <c:showVal val="1"/>
              <c:showCatName val="0"/>
              <c:showSerName val="0"/>
              <c:showPercent val="0"/>
              <c:showBubbleSize val="0"/>
            </c:dLbl>
            <c:dLbl>
              <c:idx val="9"/>
              <c:tx>
                <c:rich>
                  <a:bodyPr/>
                  <a:lstStyle/>
                  <a:p>
                    <a:r>
                      <a:t>303.54</a:t>
                    </a:r>
                  </a:p>
                </c:rich>
              </c:tx>
              <c:showLegendKey val="0"/>
              <c:showVal val="1"/>
              <c:showCatName val="0"/>
              <c:showSerName val="0"/>
              <c:showPercent val="0"/>
              <c:showBubbleSize val="0"/>
            </c:dLbl>
            <c:dLbl>
              <c:idx val="10"/>
              <c:tx>
                <c:rich>
                  <a:bodyPr/>
                  <a:lstStyle/>
                  <a:p>
                    <a:r>
                      <a:t>49.39</a:t>
                    </a:r>
                  </a:p>
                </c:rich>
              </c:tx>
              <c:showLegendKey val="0"/>
              <c:showVal val="1"/>
              <c:showCatName val="0"/>
              <c:showSerName val="0"/>
              <c:showPercent val="0"/>
              <c:showBubbleSize val="0"/>
            </c:dLbl>
            <c:dLbl>
              <c:idx val="11"/>
              <c:tx>
                <c:rich>
                  <a:bodyPr/>
                  <a:lstStyle/>
                  <a:p>
                    <a:r>
                      <a:t>204.11</a:t>
                    </a:r>
                  </a:p>
                </c:rich>
              </c:tx>
              <c:showLegendKey val="0"/>
              <c:showVal val="1"/>
              <c:showCatName val="0"/>
              <c:showSerName val="0"/>
              <c:showPercent val="0"/>
              <c:showBubbleSize val="0"/>
            </c:dLbl>
            <c:dLbl>
              <c:idx val="12"/>
              <c:tx>
                <c:rich>
                  <a:bodyPr/>
                  <a:lstStyle/>
                  <a:p>
                    <a:r>
                      <a:t>367.0</a:t>
                    </a:r>
                  </a:p>
                </c:rich>
              </c:tx>
              <c:showLegendKey val="0"/>
              <c:showVal val="1"/>
              <c:showCatName val="0"/>
              <c:showSerName val="0"/>
              <c:showPercent val="0"/>
              <c:showBubbleSize val="0"/>
            </c:dLbl>
            <c:dLbl>
              <c:idx val="13"/>
              <c:tx>
                <c:rich>
                  <a:bodyPr/>
                  <a:lstStyle/>
                  <a:p>
                    <a:r>
                      <a:t>354.77</a:t>
                    </a:r>
                  </a:p>
                </c:rich>
              </c:tx>
              <c:showLegendKey val="0"/>
              <c:showVal val="1"/>
              <c:showCatName val="0"/>
              <c:showSerName val="0"/>
              <c:showPercent val="0"/>
              <c:showBubbleSize val="0"/>
            </c:dLbl>
            <c:dLbl>
              <c:idx val="14"/>
              <c:tx>
                <c:rich>
                  <a:bodyPr/>
                  <a:lstStyle/>
                  <a:p>
                    <a:r>
                      <a:t>77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Mineral Sunscreen Kids Cosmetics Locion 50 180Ml</c:v>
                </c:pt>
                <c:pt idx="1">
                  <c:v>Edgewell Banana Boat Banded Pack Banded Pack 2X Sunscreen Multi 50+ 170Ml</c:v>
                </c:pt>
                <c:pt idx="2">
                  <c:v>Edgewell Banana Boat Mineral Sunscreen Adults Sport Locion 50 180Ml</c:v>
                </c:pt>
                <c:pt idx="3">
                  <c:v>Edgewell Banana Boat Mineral Sunscreen Adults Cosmetics Locion 50 180Ml</c:v>
                </c:pt>
                <c:pt idx="4">
                  <c:v>Edgewell Banana Boat Dry Balance Sunscreen Adults Sport Locion 50+ 60Ml</c:v>
                </c:pt>
                <c:pt idx="5">
                  <c:v>Isdin Isdin Sunscreen Baby Derma Spray Locion 50+ 250Ml</c:v>
                </c:pt>
                <c:pt idx="6">
                  <c:v>Glaxosmithkline Eclipsol Sunscreen Adults Derma Locion 50+ 60Ml</c:v>
                </c:pt>
                <c:pt idx="7">
                  <c:v>Others Fabricante Unif. Others Marca Unif. Sunscreen Adults Sport Spray Locion 50 200Ml</c:v>
                </c:pt>
                <c:pt idx="8">
                  <c:v>Isdin Isdin Sunscreen Adults Derma Locion 50+ 200Ml</c:v>
                </c:pt>
                <c:pt idx="9">
                  <c:v>Glaxosmithkline Eclipsol Sunscreen Kids Derma Locion 50+ 60Ml</c:v>
                </c:pt>
                <c:pt idx="10">
                  <c:v>Others Fabricante Unif. Others Marca Unif. Sunscreen Adults Cosmetics Locion 50+ 35Ml</c:v>
                </c:pt>
                <c:pt idx="11">
                  <c:v>Others Fabricante Unif. Others Marca Unif. Sunscreen Adults Cosmetics Locion 50 100Ml</c:v>
                </c:pt>
                <c:pt idx="12">
                  <c:v>Others Fabricante Unif. Others Marca Unif. Sunscreen Kids Cosmetics Locion 50+ 177Ml</c:v>
                </c:pt>
                <c:pt idx="13">
                  <c:v>Others Fabricante Unif. Others Marca Unif. Sunscreen Kids Cosmetics Spray Locion 30 - 49 200Ml</c:v>
                </c:pt>
                <c:pt idx="14">
                  <c:v>Glaxosmithkline Eclipsol Sunscreen Adults Derma Locion 50+ 125Ml</c:v>
                </c:pt>
              </c:strCache>
            </c:strRef>
          </c:cat>
          <c:val>
            <c:numRef>
              <c:f>Sheet1!$B$2:$B$16</c:f>
              <c:numCache>
                <c:formatCode>General</c:formatCode>
                <c:ptCount val="15"/>
                <c:pt idx="0">
                  <c:v>359.99</c:v>
                </c:pt>
                <c:pt idx="1">
                  <c:v>417.8</c:v>
                </c:pt>
                <c:pt idx="2">
                  <c:v>358.05</c:v>
                </c:pt>
                <c:pt idx="3">
                  <c:v>362.05</c:v>
                </c:pt>
                <c:pt idx="4">
                  <c:v>88.14</c:v>
                </c:pt>
                <c:pt idx="5">
                  <c:v>683.05</c:v>
                </c:pt>
                <c:pt idx="6">
                  <c:v>312.96</c:v>
                </c:pt>
                <c:pt idx="7">
                  <c:v>286.15</c:v>
                </c:pt>
                <c:pt idx="8">
                  <c:v>617.14</c:v>
                </c:pt>
                <c:pt idx="9">
                  <c:v>303.54</c:v>
                </c:pt>
                <c:pt idx="10">
                  <c:v>49.39</c:v>
                </c:pt>
                <c:pt idx="11">
                  <c:v>204.11</c:v>
                </c:pt>
                <c:pt idx="12">
                  <c:v>367.0</c:v>
                </c:pt>
                <c:pt idx="13">
                  <c:v>354.77</c:v>
                </c:pt>
                <c:pt idx="14">
                  <c:v>77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8.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Ultra Sunscreen Adults Sport Roll-On 60+ 75Ml</c:v>
                </c:pt>
              </c:strCache>
            </c:strRef>
          </c:cat>
          <c:val>
            <c:numRef>
              <c:f>Sheet1!$B$2:$B$2</c:f>
              <c:numCache>
                <c:formatCode>General</c:formatCode>
                <c:ptCount val="1"/>
                <c:pt idx="0">
                  <c:v>24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258.0</a:t>
                    </a:r>
                  </a:p>
                </c:rich>
              </c:tx>
              <c:showLegendKey val="0"/>
              <c:showVal val="1"/>
              <c:showCatName val="0"/>
              <c:showSerName val="0"/>
              <c:showPercent val="0"/>
              <c:showBubbleSize val="0"/>
            </c:dLbl>
            <c:dLbl>
              <c:idx val="2"/>
              <c:tx>
                <c:rich>
                  <a:bodyPr/>
                  <a:lstStyle/>
                  <a:p>
                    <a:r>
                      <a:t>453.61</a:t>
                    </a:r>
                  </a:p>
                </c:rich>
              </c:tx>
              <c:showLegendKey val="0"/>
              <c:showVal val="1"/>
              <c:showCatName val="0"/>
              <c:showSerName val="0"/>
              <c:showPercent val="0"/>
              <c:showBubbleSize val="0"/>
            </c:dLbl>
            <c:dLbl>
              <c:idx val="3"/>
              <c:tx>
                <c:rich>
                  <a:bodyPr/>
                  <a:lstStyle/>
                  <a:p>
                    <a:r>
                      <a:t>450.0</a:t>
                    </a:r>
                  </a:p>
                </c:rich>
              </c:tx>
              <c:showLegendKey val="0"/>
              <c:showVal val="1"/>
              <c:showCatName val="0"/>
              <c:showSerName val="0"/>
              <c:showPercent val="0"/>
              <c:showBubbleSize val="0"/>
            </c:dLbl>
            <c:dLbl>
              <c:idx val="4"/>
              <c:tx>
                <c:rich>
                  <a:bodyPr/>
                  <a:lstStyle/>
                  <a:p>
                    <a:r>
                      <a:t>294.01</a:t>
                    </a:r>
                  </a:p>
                </c:rich>
              </c:tx>
              <c:showLegendKey val="0"/>
              <c:showVal val="1"/>
              <c:showCatName val="0"/>
              <c:showSerName val="0"/>
              <c:showPercent val="0"/>
              <c:showBubbleSize val="0"/>
            </c:dLbl>
            <c:dLbl>
              <c:idx val="5"/>
              <c:tx>
                <c:rich>
                  <a:bodyPr/>
                  <a:lstStyle/>
                  <a:p>
                    <a:r>
                      <a:t>232.54</a:t>
                    </a:r>
                  </a:p>
                </c:rich>
              </c:tx>
              <c:showLegendKey val="0"/>
              <c:showVal val="1"/>
              <c:showCatName val="0"/>
              <c:showSerName val="0"/>
              <c:showPercent val="0"/>
              <c:showBubbleSize val="0"/>
            </c:dLbl>
            <c:dLbl>
              <c:idx val="6"/>
              <c:tx>
                <c:rich>
                  <a:bodyPr/>
                  <a:lstStyle/>
                  <a:p>
                    <a:r>
                      <a:t>290.0</a:t>
                    </a:r>
                  </a:p>
                </c:rich>
              </c:tx>
              <c:showLegendKey val="0"/>
              <c:showVal val="1"/>
              <c:showCatName val="0"/>
              <c:showSerName val="0"/>
              <c:showPercent val="0"/>
              <c:showBubbleSize val="0"/>
            </c:dLbl>
            <c:dLbl>
              <c:idx val="7"/>
              <c:tx>
                <c:rich>
                  <a:bodyPr/>
                  <a:lstStyle/>
                  <a:p>
                    <a:r>
                      <a:t>155.62</a:t>
                    </a:r>
                  </a:p>
                </c:rich>
              </c:tx>
              <c:showLegendKey val="0"/>
              <c:showVal val="1"/>
              <c:showCatName val="0"/>
              <c:showSerName val="0"/>
              <c:showPercent val="0"/>
              <c:showBubbleSize val="0"/>
            </c:dLbl>
            <c:dLbl>
              <c:idx val="8"/>
              <c:tx>
                <c:rich>
                  <a:bodyPr/>
                  <a:lstStyle/>
                  <a:p>
                    <a:r>
                      <a:t>118.11</a:t>
                    </a:r>
                  </a:p>
                </c:rich>
              </c:tx>
              <c:showLegendKey val="0"/>
              <c:showVal val="1"/>
              <c:showCatName val="0"/>
              <c:showSerName val="0"/>
              <c:showPercent val="0"/>
              <c:showBubbleSize val="0"/>
            </c:dLbl>
            <c:dLbl>
              <c:idx val="9"/>
              <c:tx>
                <c:rich>
                  <a:bodyPr/>
                  <a:lstStyle/>
                  <a:p>
                    <a:r>
                      <a:t>178.16</a:t>
                    </a:r>
                  </a:p>
                </c:rich>
              </c:tx>
              <c:showLegendKey val="0"/>
              <c:showVal val="1"/>
              <c:showCatName val="0"/>
              <c:showSerName val="0"/>
              <c:showPercent val="0"/>
              <c:showBubbleSize val="0"/>
            </c:dLbl>
            <c:dLbl>
              <c:idx val="10"/>
              <c:tx>
                <c:rich>
                  <a:bodyPr/>
                  <a:lstStyle/>
                  <a:p>
                    <a:r>
                      <a:t>156.83</a:t>
                    </a:r>
                  </a:p>
                </c:rich>
              </c:tx>
              <c:showLegendKey val="0"/>
              <c:showVal val="1"/>
              <c:showCatName val="0"/>
              <c:showSerName val="0"/>
              <c:showPercent val="0"/>
              <c:showBubbleSize val="0"/>
            </c:dLbl>
            <c:dLbl>
              <c:idx val="11"/>
              <c:tx>
                <c:rich>
                  <a:bodyPr/>
                  <a:lstStyle/>
                  <a:p>
                    <a:r>
                      <a:t>15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Other Sunscreen Adults Cosmetics Crema 50+ 240Ml</c:v>
                </c:pt>
                <c:pt idx="1">
                  <c:v>Edgewell Hawaiian Tropic Baby Sunscreen Baby Cosmetics Crema 50+ 240Ml</c:v>
                </c:pt>
                <c:pt idx="2">
                  <c:v>Isdin Isdin Sunscreen Adults Derma Crema 50 50Ml</c:v>
                </c:pt>
                <c:pt idx="3">
                  <c:v>Isdin Isdin Sunscreen Adults Derma Crema 50+ 50Ml</c:v>
                </c:pt>
                <c:pt idx="4">
                  <c:v>Beiersdorf Nivea Sunscreen Adults Cosmetics Crema 50+ 200Ml</c:v>
                </c:pt>
                <c:pt idx="5">
                  <c:v>Beiersdorf Nivea Sunscreen Adults Cosmetics Crema 50 50Ml</c:v>
                </c:pt>
                <c:pt idx="6">
                  <c:v>Beiersdorf Nivea Sunscreen Adults Cosmetics Crema 50+ 40Ml</c:v>
                </c:pt>
                <c:pt idx="7">
                  <c:v>Others Fabricante Unif. Others Marca Unif. Sunscreen Adults Cosmetics Crema 50+ 125Ml</c:v>
                </c:pt>
                <c:pt idx="8">
                  <c:v>Others Fabricante Unif. Others Marca Unif. Sunscreen Adults Cosmetics Crema 50 100Ml</c:v>
                </c:pt>
                <c:pt idx="9">
                  <c:v>Others Fabricante Unif. Others Marca Unif. Sunscreen Adults Derma Crema 50+ 125Ml</c:v>
                </c:pt>
                <c:pt idx="10">
                  <c:v>Others Fabricante Unif. Others Marca Unif. Sunscreen Kids Derma Crema 50+ 125Ml</c:v>
                </c:pt>
                <c:pt idx="11">
                  <c:v>Others Fabricante Unif. Others Marca Unif. Sunscreen Adults Derma Crema 50+ 60Ml</c:v>
                </c:pt>
              </c:strCache>
            </c:strRef>
          </c:cat>
          <c:val>
            <c:numRef>
              <c:f>Sheet1!$B$2:$B$13</c:f>
              <c:numCache>
                <c:formatCode>General</c:formatCode>
                <c:ptCount val="12"/>
                <c:pt idx="0">
                  <c:v>240.0</c:v>
                </c:pt>
                <c:pt idx="1">
                  <c:v>258.0</c:v>
                </c:pt>
                <c:pt idx="2">
                  <c:v>453.61</c:v>
                </c:pt>
                <c:pt idx="3">
                  <c:v>450.0</c:v>
                </c:pt>
                <c:pt idx="4">
                  <c:v>294.01</c:v>
                </c:pt>
                <c:pt idx="5">
                  <c:v>232.54</c:v>
                </c:pt>
                <c:pt idx="6">
                  <c:v>290.0</c:v>
                </c:pt>
                <c:pt idx="7">
                  <c:v>155.62</c:v>
                </c:pt>
                <c:pt idx="8">
                  <c:v>118.11</c:v>
                </c:pt>
                <c:pt idx="9">
                  <c:v>178.16</c:v>
                </c:pt>
                <c:pt idx="10">
                  <c:v>156.83</c:v>
                </c:pt>
                <c:pt idx="11">
                  <c:v>15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0.09</a:t>
                    </a:r>
                  </a:p>
                </c:rich>
              </c:tx>
              <c:showLegendKey val="0"/>
              <c:showVal val="1"/>
              <c:showCatName val="0"/>
              <c:showSerName val="0"/>
              <c:showPercent val="0"/>
              <c:showBubbleSize val="0"/>
            </c:dLbl>
            <c:dLbl>
              <c:idx val="1"/>
              <c:tx>
                <c:rich>
                  <a:bodyPr/>
                  <a:lstStyle/>
                  <a:p>
                    <a:r>
                      <a:t>220.0</a:t>
                    </a:r>
                  </a:p>
                </c:rich>
              </c:tx>
              <c:showLegendKey val="0"/>
              <c:showVal val="1"/>
              <c:showCatName val="0"/>
              <c:showSerName val="0"/>
              <c:showPercent val="0"/>
              <c:showBubbleSize val="0"/>
            </c:dLbl>
            <c:dLbl>
              <c:idx val="2"/>
              <c:tx>
                <c:rich>
                  <a:bodyPr/>
                  <a:lstStyle/>
                  <a:p>
                    <a:r>
                      <a:t>133.0</a:t>
                    </a:r>
                  </a:p>
                </c:rich>
              </c:tx>
              <c:showLegendKey val="0"/>
              <c:showVal val="1"/>
              <c:showCatName val="0"/>
              <c:showSerName val="0"/>
              <c:showPercent val="0"/>
              <c:showBubbleSize val="0"/>
            </c:dLbl>
            <c:dLbl>
              <c:idx val="3"/>
              <c:tx>
                <c:rich>
                  <a:bodyPr/>
                  <a:lstStyle/>
                  <a:p>
                    <a:r>
                      <a:t>188.69</a:t>
                    </a:r>
                  </a:p>
                </c:rich>
              </c:tx>
              <c:showLegendKey val="0"/>
              <c:showVal val="1"/>
              <c:showCatName val="0"/>
              <c:showSerName val="0"/>
              <c:showPercent val="0"/>
              <c:showBubbleSize val="0"/>
            </c:dLbl>
            <c:dLbl>
              <c:idx val="4"/>
              <c:tx>
                <c:rich>
                  <a:bodyPr/>
                  <a:lstStyle/>
                  <a:p>
                    <a:r>
                      <a:t>295.0</a:t>
                    </a:r>
                  </a:p>
                </c:rich>
              </c:tx>
              <c:showLegendKey val="0"/>
              <c:showVal val="1"/>
              <c:showCatName val="0"/>
              <c:showSerName val="0"/>
              <c:showPercent val="0"/>
              <c:showBubbleSize val="0"/>
            </c:dLbl>
            <c:dLbl>
              <c:idx val="5"/>
              <c:tx>
                <c:rich>
                  <a:bodyPr/>
                  <a:lstStyle/>
                  <a:p>
                    <a:r>
                      <a:t>362.53</a:t>
                    </a:r>
                  </a:p>
                </c:rich>
              </c:tx>
              <c:showLegendKey val="0"/>
              <c:showVal val="1"/>
              <c:showCatName val="0"/>
              <c:showSerName val="0"/>
              <c:showPercent val="0"/>
              <c:showBubbleSize val="0"/>
            </c:dLbl>
            <c:dLbl>
              <c:idx val="6"/>
              <c:tx>
                <c:rich>
                  <a:bodyPr/>
                  <a:lstStyle/>
                  <a:p>
                    <a:r>
                      <a:t>169.73</a:t>
                    </a:r>
                  </a:p>
                </c:rich>
              </c:tx>
              <c:showLegendKey val="0"/>
              <c:showVal val="1"/>
              <c:showCatName val="0"/>
              <c:showSerName val="0"/>
              <c:showPercent val="0"/>
              <c:showBubbleSize val="0"/>
            </c:dLbl>
            <c:dLbl>
              <c:idx val="7"/>
              <c:tx>
                <c:rich>
                  <a:bodyPr/>
                  <a:lstStyle/>
                  <a:p>
                    <a:r>
                      <a:t>240.16</a:t>
                    </a:r>
                  </a:p>
                </c:rich>
              </c:tx>
              <c:showLegendKey val="0"/>
              <c:showVal val="1"/>
              <c:showCatName val="0"/>
              <c:showSerName val="0"/>
              <c:showPercent val="0"/>
              <c:showBubbleSize val="0"/>
            </c:dLbl>
            <c:dLbl>
              <c:idx val="8"/>
              <c:tx>
                <c:rich>
                  <a:bodyPr/>
                  <a:lstStyle/>
                  <a:p>
                    <a:r>
                      <a:t>90.0</a:t>
                    </a:r>
                  </a:p>
                </c:rich>
              </c:tx>
              <c:showLegendKey val="0"/>
              <c:showVal val="1"/>
              <c:showCatName val="0"/>
              <c:showSerName val="0"/>
              <c:showPercent val="0"/>
              <c:showBubbleSize val="0"/>
            </c:dLbl>
            <c:dLbl>
              <c:idx val="9"/>
              <c:tx>
                <c:rich>
                  <a:bodyPr/>
                  <a:lstStyle/>
                  <a:p>
                    <a:r>
                      <a:t>572.8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Hawaiian Tropic Island Sport Sunscreen Adults Sport Liquido 50 60Ml</c:v>
                </c:pt>
                <c:pt idx="1">
                  <c:v>Edgewell Hawaiian Tropic Island Sport Sunscreen Adults Sport Spray Liquido 50 220Ml</c:v>
                </c:pt>
                <c:pt idx="2">
                  <c:v>Edgewell Hawaiian Tropic Sheer Touch Sunscreen Adults Cosmetics Liquido 30 - 49 60Ml</c:v>
                </c:pt>
                <c:pt idx="3">
                  <c:v>Beiersdorf Nivea Sunscreen Adults Cosmetics Liquido 50+ 125Ml</c:v>
                </c:pt>
                <c:pt idx="4">
                  <c:v>Beiersdorf Nivea Sunscreen Kids Cosmetics Liquido 50+ 200Ml</c:v>
                </c:pt>
                <c:pt idx="5">
                  <c:v>Beiersdorf Nivea Sunscreen Adults Cosmetics Spray Liquido 50 200Ml</c:v>
                </c:pt>
                <c:pt idx="6">
                  <c:v>Beiersdorf Nivea Sunscreen Kids Cosmetics Liquido 50+ 125Ml</c:v>
                </c:pt>
                <c:pt idx="7">
                  <c:v>Beiersdorf Nivea Sunscreen Adults Cosmetics Liquido 50 200Ml</c:v>
                </c:pt>
                <c:pt idx="8">
                  <c:v>Others Fabricante Unif. Others Marca Unif. Sunscreen Adults Cosmetics Spray Liquido 50+ 50Ml</c:v>
                </c:pt>
                <c:pt idx="9">
                  <c:v>Beiersdorf Eucerin Sunscreen Adults Derma Liquido 50 150Ml</c:v>
                </c:pt>
              </c:strCache>
            </c:strRef>
          </c:cat>
          <c:val>
            <c:numRef>
              <c:f>Sheet1!$B$2:$B$11</c:f>
              <c:numCache>
                <c:formatCode>General</c:formatCode>
                <c:ptCount val="10"/>
                <c:pt idx="0">
                  <c:v>70.09</c:v>
                </c:pt>
                <c:pt idx="1">
                  <c:v>220.0</c:v>
                </c:pt>
                <c:pt idx="2">
                  <c:v>133.0</c:v>
                </c:pt>
                <c:pt idx="3">
                  <c:v>188.69</c:v>
                </c:pt>
                <c:pt idx="4">
                  <c:v>295.0</c:v>
                </c:pt>
                <c:pt idx="5">
                  <c:v>362.53</c:v>
                </c:pt>
                <c:pt idx="6">
                  <c:v>169.73</c:v>
                </c:pt>
                <c:pt idx="7">
                  <c:v>240.16</c:v>
                </c:pt>
                <c:pt idx="8">
                  <c:v>90.0</c:v>
                </c:pt>
                <c:pt idx="9">
                  <c:v>572.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showLegendKey val="0"/>
              <c:showVal val="1"/>
              <c:showCatName val="0"/>
              <c:showSerName val="0"/>
              <c:showPercent val="0"/>
              <c:showBubbleSize val="0"/>
            </c:dLbl>
            <c:dLbl>
              <c:idx val="1"/>
              <c:tx>
                <c:rich>
                  <a:bodyPr/>
                  <a:lstStyle/>
                  <a:p>
                    <a:r>
                      <a:t>188.69</a:t>
                    </a:r>
                  </a:p>
                </c:rich>
              </c:tx>
              <c:showLegendKey val="0"/>
              <c:showVal val="1"/>
              <c:showCatName val="0"/>
              <c:showSerName val="0"/>
              <c:showPercent val="0"/>
              <c:showBubbleSize val="0"/>
            </c:dLbl>
            <c:dLbl>
              <c:idx val="2"/>
              <c:tx>
                <c:rich>
                  <a:bodyPr/>
                  <a:lstStyle/>
                  <a:p>
                    <a:r>
                      <a:t>295.0</a:t>
                    </a:r>
                  </a:p>
                </c:rich>
              </c:tx>
              <c:showLegendKey val="0"/>
              <c:showVal val="1"/>
              <c:showCatName val="0"/>
              <c:showSerName val="0"/>
              <c:showPercent val="0"/>
              <c:showBubbleSize val="0"/>
            </c:dLbl>
            <c:dLbl>
              <c:idx val="3"/>
              <c:tx>
                <c:rich>
                  <a:bodyPr/>
                  <a:lstStyle/>
                  <a:p>
                    <a:r>
                      <a:t>362.53</a:t>
                    </a:r>
                  </a:p>
                </c:rich>
              </c:tx>
              <c:showLegendKey val="0"/>
              <c:showVal val="1"/>
              <c:showCatName val="0"/>
              <c:showSerName val="0"/>
              <c:showPercent val="0"/>
              <c:showBubbleSize val="0"/>
            </c:dLbl>
            <c:dLbl>
              <c:idx val="4"/>
              <c:tx>
                <c:rich>
                  <a:bodyPr/>
                  <a:lstStyle/>
                  <a:p>
                    <a:r>
                      <a:t>169.73</a:t>
                    </a:r>
                  </a:p>
                </c:rich>
              </c:tx>
              <c:showLegendKey val="0"/>
              <c:showVal val="1"/>
              <c:showCatName val="0"/>
              <c:showSerName val="0"/>
              <c:showPercent val="0"/>
              <c:showBubbleSize val="0"/>
            </c:dLbl>
            <c:dLbl>
              <c:idx val="5"/>
              <c:tx>
                <c:rich>
                  <a:bodyPr/>
                  <a:lstStyle/>
                  <a:p>
                    <a:r>
                      <a:t>240.16</a:t>
                    </a:r>
                  </a:p>
                </c:rich>
              </c:tx>
              <c:showLegendKey val="0"/>
              <c:showVal val="1"/>
              <c:showCatName val="0"/>
              <c:showSerName val="0"/>
              <c:showPercent val="0"/>
              <c:showBubbleSize val="0"/>
            </c:dLbl>
            <c:dLbl>
              <c:idx val="6"/>
              <c:tx>
                <c:rich>
                  <a:bodyPr/>
                  <a:lstStyle/>
                  <a:p>
                    <a:r>
                      <a:t>90.0</a:t>
                    </a:r>
                  </a:p>
                </c:rich>
              </c:tx>
              <c:showLegendKey val="0"/>
              <c:showVal val="1"/>
              <c:showCatName val="0"/>
              <c:showSerName val="0"/>
              <c:showPercent val="0"/>
              <c:showBubbleSize val="0"/>
            </c:dLbl>
            <c:dLbl>
              <c:idx val="7"/>
              <c:tx>
                <c:rich>
                  <a:bodyPr/>
                  <a:lstStyle/>
                  <a:p>
                    <a:r>
                      <a:t>572.8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dgewell Banana Boat Advanced Protection Sunscreen Adults Cosmetics Liquido 50+ 60Ml</c:v>
                </c:pt>
                <c:pt idx="1">
                  <c:v>Beiersdorf Nivea Sunscreen Adults Cosmetics Liquido 50+ 125Ml</c:v>
                </c:pt>
                <c:pt idx="2">
                  <c:v>Beiersdorf Nivea Sunscreen Kids Cosmetics Liquido 50+ 200Ml</c:v>
                </c:pt>
                <c:pt idx="3">
                  <c:v>Beiersdorf Nivea Sunscreen Adults Cosmetics Spray Liquido 50 200Ml</c:v>
                </c:pt>
                <c:pt idx="4">
                  <c:v>Beiersdorf Nivea Sunscreen Kids Cosmetics Liquido 50+ 125Ml</c:v>
                </c:pt>
                <c:pt idx="5">
                  <c:v>Beiersdorf Nivea Sunscreen Adults Cosmetics Liquido 50 200Ml</c:v>
                </c:pt>
                <c:pt idx="6">
                  <c:v>Others Fabricante Unif. Others Marca Unif. Sunscreen Adults Cosmetics Spray Liquido 50+ 50Ml</c:v>
                </c:pt>
                <c:pt idx="7">
                  <c:v>Beiersdorf Eucerin Sunscreen Adults Derma Liquido 50 150Ml</c:v>
                </c:pt>
              </c:strCache>
            </c:strRef>
          </c:cat>
          <c:val>
            <c:numRef>
              <c:f>Sheet1!$B$2:$B$9</c:f>
              <c:numCache>
                <c:formatCode>General</c:formatCode>
                <c:ptCount val="8"/>
                <c:pt idx="0">
                  <c:v>96.8</c:v>
                </c:pt>
                <c:pt idx="1">
                  <c:v>188.69</c:v>
                </c:pt>
                <c:pt idx="2">
                  <c:v>295.0</c:v>
                </c:pt>
                <c:pt idx="3">
                  <c:v>362.53</c:v>
                </c:pt>
                <c:pt idx="4">
                  <c:v>169.73</c:v>
                </c:pt>
                <c:pt idx="5">
                  <c:v>240.16</c:v>
                </c:pt>
                <c:pt idx="6">
                  <c:v>90.0</c:v>
                </c:pt>
                <c:pt idx="7">
                  <c:v>572.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0.75</a:t>
                    </a:r>
                  </a:p>
                </c:rich>
              </c:tx>
              <c:dLblPos val="t"/>
              <c:showLegendKey val="0"/>
              <c:showVal val="1"/>
              <c:showCatName val="0"/>
              <c:showSerName val="0"/>
              <c:showPercent val="0"/>
              <c:showBubbleSize val="0"/>
            </c:dLbl>
            <c:dLbl>
              <c:idx val="1"/>
              <c:tx>
                <c:rich>
                  <a:bodyPr/>
                  <a:lstStyle/>
                  <a:p>
                    <a:r>
                      <a:t>253.23</a:t>
                    </a:r>
                  </a:p>
                </c:rich>
              </c:tx>
              <c:dLblPos val="t"/>
              <c:showLegendKey val="0"/>
              <c:showVal val="1"/>
              <c:showCatName val="0"/>
              <c:showSerName val="0"/>
              <c:showPercent val="0"/>
              <c:showBubbleSize val="0"/>
            </c:dLbl>
            <c:dLbl>
              <c:idx val="2"/>
              <c:tx>
                <c:rich>
                  <a:bodyPr/>
                  <a:lstStyle/>
                  <a:p>
                    <a:r>
                      <a:t>281.29</a:t>
                    </a:r>
                  </a:p>
                </c:rich>
              </c:tx>
              <c:dLblPos val="t"/>
              <c:showLegendKey val="0"/>
              <c:showVal val="1"/>
              <c:showCatName val="0"/>
              <c:showSerName val="0"/>
              <c:showPercent val="0"/>
              <c:showBubbleSize val="0"/>
            </c:dLbl>
            <c:dLbl>
              <c:idx val="3"/>
              <c:tx>
                <c:rich>
                  <a:bodyPr/>
                  <a:lstStyle/>
                  <a:p>
                    <a:r>
                      <a:t>72.25</a:t>
                    </a:r>
                  </a:p>
                </c:rich>
              </c:tx>
              <c:dLblPos val="t"/>
              <c:showLegendKey val="0"/>
              <c:showVal val="1"/>
              <c:showCatName val="0"/>
              <c:showSerName val="0"/>
              <c:showPercent val="0"/>
              <c:showBubbleSize val="0"/>
            </c:dLbl>
            <c:dLbl>
              <c:idx val="4"/>
              <c:tx>
                <c:rich>
                  <a:bodyPr/>
                  <a:lstStyle/>
                  <a:p>
                    <a:r>
                      <a:t>247.96</a:t>
                    </a:r>
                  </a:p>
                </c:rich>
              </c:tx>
              <c:dLblPos val="t"/>
              <c:showLegendKey val="0"/>
              <c:showVal val="1"/>
              <c:showCatName val="0"/>
              <c:showSerName val="0"/>
              <c:showPercent val="0"/>
              <c:showBubbleSize val="0"/>
            </c:dLbl>
            <c:dLbl>
              <c:idx val="5"/>
              <c:tx>
                <c:rich>
                  <a:bodyPr/>
                  <a:lstStyle/>
                  <a:p>
                    <a:r>
                      <a:t>133.0</a:t>
                    </a:r>
                  </a:p>
                </c:rich>
              </c:tx>
              <c:dLblPos val="t"/>
              <c:showLegendKey val="0"/>
              <c:showVal val="1"/>
              <c:showCatName val="0"/>
              <c:showSerName val="0"/>
              <c:showPercent val="0"/>
              <c:showBubbleSize val="0"/>
            </c:dLbl>
            <c:dLbl>
              <c:idx val="6"/>
              <c:tx>
                <c:rich>
                  <a:bodyPr/>
                  <a:lstStyle/>
                  <a:p>
                    <a:r>
                      <a:t>218.42</a:t>
                    </a:r>
                  </a:p>
                </c:rich>
              </c:tx>
              <c:dLblPos val="t"/>
              <c:showLegendKey val="0"/>
              <c:showVal val="1"/>
              <c:showCatName val="0"/>
              <c:showSerName val="0"/>
              <c:showPercent val="0"/>
              <c:showBubbleSize val="0"/>
            </c:dLbl>
            <c:dLbl>
              <c:idx val="7"/>
              <c:tx>
                <c:rich>
                  <a:bodyPr/>
                  <a:lstStyle/>
                  <a:p>
                    <a:r>
                      <a:t>220.0</a:t>
                    </a:r>
                  </a:p>
                </c:rich>
              </c:tx>
              <c:dLblPos val="t"/>
              <c:showLegendKey val="0"/>
              <c:showVal val="1"/>
              <c:showCatName val="0"/>
              <c:showSerName val="0"/>
              <c:showPercent val="0"/>
              <c:showBubbleSize val="0"/>
            </c:dLbl>
            <c:dLbl>
              <c:idx val="8"/>
              <c:tx>
                <c:rich>
                  <a:bodyPr/>
                  <a:lstStyle/>
                  <a:p>
                    <a:r>
                      <a:t>258.0</a:t>
                    </a:r>
                  </a:p>
                </c:rich>
              </c:tx>
              <c:dLblPos val="t"/>
              <c:showLegendKey val="0"/>
              <c:showVal val="1"/>
              <c:showCatName val="0"/>
              <c:showSerName val="0"/>
              <c:showPercent val="0"/>
              <c:showBubbleSize val="0"/>
            </c:dLbl>
            <c:dLbl>
              <c:idx val="9"/>
              <c:tx>
                <c:rich>
                  <a:bodyPr/>
                  <a:lstStyle/>
                  <a:p>
                    <a:r>
                      <a:t>279.12</a:t>
                    </a:r>
                  </a:p>
                </c:rich>
              </c:tx>
              <c:dLblPos val="t"/>
              <c:showLegendKey val="0"/>
              <c:showVal val="1"/>
              <c:showCatName val="0"/>
              <c:showSerName val="0"/>
              <c:showPercent val="0"/>
              <c:showBubbleSize val="0"/>
            </c:dLbl>
            <c:dLbl>
              <c:idx val="10"/>
              <c:tx>
                <c:rich>
                  <a:bodyPr/>
                  <a:lstStyle/>
                  <a:p>
                    <a:r>
                      <a:t>88.0</a:t>
                    </a:r>
                  </a:p>
                </c:rich>
              </c:tx>
              <c:dLblPos val="t"/>
              <c:showLegendKey val="0"/>
              <c:showVal val="1"/>
              <c:showCatName val="0"/>
              <c:showSerName val="0"/>
              <c:showPercent val="0"/>
              <c:showBubbleSize val="0"/>
            </c:dLbl>
            <c:dLbl>
              <c:idx val="11"/>
              <c:tx>
                <c:rich>
                  <a:bodyPr/>
                  <a:lstStyle/>
                  <a:p>
                    <a:r>
                      <a:t>235.9</a:t>
                    </a:r>
                  </a:p>
                </c:rich>
              </c:tx>
              <c:dLblPos val="t"/>
              <c:showLegendKey val="0"/>
              <c:showVal val="1"/>
              <c:showCatName val="0"/>
              <c:showSerName val="0"/>
              <c:showPercent val="0"/>
              <c:showBubbleSize val="0"/>
            </c:dLbl>
            <c:dLbl>
              <c:idx val="12"/>
              <c:tx>
                <c:rich>
                  <a:bodyPr/>
                  <a:lstStyle/>
                  <a:p>
                    <a:r>
                      <a:t>175.6</a:t>
                    </a:r>
                  </a:p>
                </c:rich>
              </c:tx>
              <c:dLblPos val="t"/>
              <c:showLegendKey val="0"/>
              <c:showVal val="1"/>
              <c:showCatName val="0"/>
              <c:showSerName val="0"/>
              <c:showPercent val="0"/>
              <c:showBubbleSize val="0"/>
            </c:dLbl>
            <c:dLbl>
              <c:idx val="13"/>
              <c:tx>
                <c:rich>
                  <a:bodyPr/>
                  <a:lstStyle/>
                  <a:p>
                    <a:r>
                      <a:t>19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ther Sunscreen Adults Cosmetics Crema 50+ 240Ml</c:v>
                </c:pt>
                <c:pt idx="1">
                  <c:v>Edgewell Hawaiian Tropic Island Sport Sunscreen Adults Sport Liquido 50 240Ml</c:v>
                </c:pt>
                <c:pt idx="2">
                  <c:v>Edgewell Hawaiian Tropic Ozono Sunscreen Adults Cosmetics Liquido 50+ 180Ml</c:v>
                </c:pt>
                <c:pt idx="3">
                  <c:v>Edgewell Hawaiian Tropic Island Sport Sunscreen Adults Sport Liquido 50 60Ml</c:v>
                </c:pt>
                <c:pt idx="4">
                  <c:v>Edgewell Hawaiian Tropic Ozono Sunscreen Adults Cosmetics Liquido 50+ 240Ml</c:v>
                </c:pt>
                <c:pt idx="5">
                  <c:v>Edgewell Hawaiian Tropic Sheer Touch Sunscreen Adults Cosmetics Liquido 30 - 49 60Ml</c:v>
                </c:pt>
                <c:pt idx="6">
                  <c:v>Edgewell Hawaiian Tropic Sheer Touch Sunscreen Adults Cosmetics Crema 50 120Ml</c:v>
                </c:pt>
                <c:pt idx="7">
                  <c:v>Edgewell Hawaiian Tropic Island Sport Sunscreen Adults Sport Spray Liquido 50 220Ml</c:v>
                </c:pt>
                <c:pt idx="8">
                  <c:v>Edgewell Hawaiian Tropic Baby Sunscreen Baby Cosmetics Crema 50+ 240Ml</c:v>
                </c:pt>
                <c:pt idx="9">
                  <c:v>Edgewell Hawaiian Tropic Ozono Sunscreen Adults Cosmetics Spray Liquido 50+ 180Ml</c:v>
                </c:pt>
                <c:pt idx="10">
                  <c:v>Edgewell Hawaiian Tropic Ozono Sunscreen Adults Cosmetics Liquido 50+ 90Ml</c:v>
                </c:pt>
                <c:pt idx="11">
                  <c:v>Edgewell Hawaiian Tropic Other Sunscreen Adults Cosmetics Liquido 50 60Ml</c:v>
                </c:pt>
                <c:pt idx="12">
                  <c:v>Edgewell Hawaiian Tropic After Sun After Sun Adults Cosmetics Gel 0 - 5 240Ml</c:v>
                </c:pt>
                <c:pt idx="13">
                  <c:v>Edgewell Hawaiian Tropic After Sun After Sun Adults Cosmetics Crema 0 - 5 180Ml</c:v>
                </c:pt>
              </c:strCache>
            </c:strRef>
          </c:cat>
          <c:val>
            <c:numRef>
              <c:f>Sheet1!$B$2:$B$15</c:f>
              <c:numCache>
                <c:formatCode>General</c:formatCode>
                <c:ptCount val="14"/>
                <c:pt idx="0">
                  <c:v>250.75</c:v>
                </c:pt>
                <c:pt idx="1">
                  <c:v>253.23</c:v>
                </c:pt>
                <c:pt idx="2">
                  <c:v>281.29</c:v>
                </c:pt>
                <c:pt idx="3">
                  <c:v>72.25</c:v>
                </c:pt>
                <c:pt idx="4">
                  <c:v>247.96</c:v>
                </c:pt>
                <c:pt idx="5">
                  <c:v>133.0</c:v>
                </c:pt>
                <c:pt idx="6">
                  <c:v>218.42</c:v>
                </c:pt>
                <c:pt idx="7">
                  <c:v>220.0</c:v>
                </c:pt>
                <c:pt idx="8">
                  <c:v>258.0</c:v>
                </c:pt>
                <c:pt idx="9">
                  <c:v>279.12</c:v>
                </c:pt>
                <c:pt idx="10">
                  <c:v>88.0</c:v>
                </c:pt>
                <c:pt idx="11">
                  <c:v>235.9</c:v>
                </c:pt>
                <c:pt idx="12">
                  <c:v>175.6</c:v>
                </c:pt>
                <c:pt idx="13">
                  <c:v>1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4.59</a:t>
                    </a:r>
                  </a:p>
                </c:rich>
              </c:tx>
              <c:showLegendKey val="0"/>
              <c:showVal val="1"/>
              <c:showCatName val="0"/>
              <c:showSerName val="0"/>
              <c:showPercent val="0"/>
              <c:showBubbleSize val="0"/>
            </c:dLbl>
            <c:dLbl>
              <c:idx val="1"/>
              <c:tx>
                <c:rich>
                  <a:bodyPr/>
                  <a:lstStyle/>
                  <a:p>
                    <a:r>
                      <a:t>205.93</a:t>
                    </a:r>
                  </a:p>
                </c:rich>
              </c:tx>
              <c:showLegendKey val="0"/>
              <c:showVal val="1"/>
              <c:showCatName val="0"/>
              <c:showSerName val="0"/>
              <c:showPercent val="0"/>
              <c:showBubbleSize val="0"/>
            </c:dLbl>
            <c:dLbl>
              <c:idx val="2"/>
              <c:tx>
                <c:rich>
                  <a:bodyPr/>
                  <a:lstStyle/>
                  <a:p>
                    <a:r>
                      <a:t>12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Mineral Sunscreen Adults Cosmetics Locion 50 60Ml</c:v>
                </c:pt>
                <c:pt idx="1">
                  <c:v>Edgewell Banana Boat Banded Pack Banded Pack 2X Sunscreen Multi 50+ 170Ml</c:v>
                </c:pt>
                <c:pt idx="2">
                  <c:v>Edgewell Banana Boat Gentle Protect Sunscreen Adults Cosmetics Locion 50 180Ml</c:v>
                </c:pt>
              </c:strCache>
            </c:strRef>
          </c:cat>
          <c:val>
            <c:numRef>
              <c:f>Sheet1!$B$2:$B$4</c:f>
              <c:numCache>
                <c:formatCode>General</c:formatCode>
                <c:ptCount val="3"/>
                <c:pt idx="0">
                  <c:v>234.59</c:v>
                </c:pt>
                <c:pt idx="1">
                  <c:v>205.93</c:v>
                </c:pt>
                <c:pt idx="2">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14</a:t>
                    </a:r>
                  </a:p>
                </c:rich>
              </c:tx>
              <c:showLegendKey val="0"/>
              <c:showVal val="1"/>
              <c:showCatName val="0"/>
              <c:showSerName val="0"/>
              <c:showPercent val="0"/>
              <c:showBubbleSize val="0"/>
            </c:dLbl>
            <c:dLbl>
              <c:idx val="1"/>
              <c:tx>
                <c:rich>
                  <a:bodyPr/>
                  <a:lstStyle/>
                  <a:p>
                    <a:r>
                      <a:t>189.54</a:t>
                    </a:r>
                  </a:p>
                </c:rich>
              </c:tx>
              <c:showLegendKey val="0"/>
              <c:showVal val="1"/>
              <c:showCatName val="0"/>
              <c:showSerName val="0"/>
              <c:showPercent val="0"/>
              <c:showBubbleSize val="0"/>
            </c:dLbl>
            <c:dLbl>
              <c:idx val="2"/>
              <c:tx>
                <c:rich>
                  <a:bodyPr/>
                  <a:lstStyle/>
                  <a:p>
                    <a:r>
                      <a:t>300.48</a:t>
                    </a:r>
                  </a:p>
                </c:rich>
              </c:tx>
              <c:showLegendKey val="0"/>
              <c:showVal val="1"/>
              <c:showCatName val="0"/>
              <c:showSerName val="0"/>
              <c:showPercent val="0"/>
              <c:showBubbleSize val="0"/>
            </c:dLbl>
            <c:dLbl>
              <c:idx val="3"/>
              <c:tx>
                <c:rich>
                  <a:bodyPr/>
                  <a:lstStyle/>
                  <a:p>
                    <a:r>
                      <a:t>265.47</a:t>
                    </a:r>
                  </a:p>
                </c:rich>
              </c:tx>
              <c:showLegendKey val="0"/>
              <c:showVal val="1"/>
              <c:showCatName val="0"/>
              <c:showSerName val="0"/>
              <c:showPercent val="0"/>
              <c:showBubbleSize val="0"/>
            </c:dLbl>
            <c:dLbl>
              <c:idx val="4"/>
              <c:tx>
                <c:rich>
                  <a:bodyPr/>
                  <a:lstStyle/>
                  <a:p>
                    <a:r>
                      <a:t>305.54</a:t>
                    </a:r>
                  </a:p>
                </c:rich>
              </c:tx>
              <c:showLegendKey val="0"/>
              <c:showVal val="1"/>
              <c:showCatName val="0"/>
              <c:showSerName val="0"/>
              <c:showPercent val="0"/>
              <c:showBubbleSize val="0"/>
            </c:dLbl>
            <c:dLbl>
              <c:idx val="5"/>
              <c:tx>
                <c:rich>
                  <a:bodyPr/>
                  <a:lstStyle/>
                  <a:p>
                    <a:r>
                      <a:t>271.17</a:t>
                    </a:r>
                  </a:p>
                </c:rich>
              </c:tx>
              <c:showLegendKey val="0"/>
              <c:showVal val="1"/>
              <c:showCatName val="0"/>
              <c:showSerName val="0"/>
              <c:showPercent val="0"/>
              <c:showBubbleSize val="0"/>
            </c:dLbl>
            <c:dLbl>
              <c:idx val="6"/>
              <c:tx>
                <c:rich>
                  <a:bodyPr/>
                  <a:lstStyle/>
                  <a:p>
                    <a:r>
                      <a:t>379.06</a:t>
                    </a:r>
                  </a:p>
                </c:rich>
              </c:tx>
              <c:showLegendKey val="0"/>
              <c:showVal val="1"/>
              <c:showCatName val="0"/>
              <c:showSerName val="0"/>
              <c:showPercent val="0"/>
              <c:showBubbleSize val="0"/>
            </c:dLbl>
            <c:dLbl>
              <c:idx val="7"/>
              <c:tx>
                <c:rich>
                  <a:bodyPr/>
                  <a:lstStyle/>
                  <a:p>
                    <a:r>
                      <a:t>364.11</a:t>
                    </a:r>
                  </a:p>
                </c:rich>
              </c:tx>
              <c:showLegendKey val="0"/>
              <c:showVal val="1"/>
              <c:showCatName val="0"/>
              <c:showSerName val="0"/>
              <c:showPercent val="0"/>
              <c:showBubbleSize val="0"/>
            </c:dLbl>
            <c:dLbl>
              <c:idx val="8"/>
              <c:tx>
                <c:rich>
                  <a:bodyPr/>
                  <a:lstStyle/>
                  <a:p>
                    <a:r>
                      <a:t>271.03</a:t>
                    </a:r>
                  </a:p>
                </c:rich>
              </c:tx>
              <c:showLegendKey val="0"/>
              <c:showVal val="1"/>
              <c:showCatName val="0"/>
              <c:showSerName val="0"/>
              <c:showPercent val="0"/>
              <c:showBubbleSize val="0"/>
            </c:dLbl>
            <c:dLbl>
              <c:idx val="9"/>
              <c:tx>
                <c:rich>
                  <a:bodyPr/>
                  <a:lstStyle/>
                  <a:p>
                    <a:r>
                      <a:t>268.43</a:t>
                    </a:r>
                  </a:p>
                </c:rich>
              </c:tx>
              <c:showLegendKey val="0"/>
              <c:showVal val="1"/>
              <c:showCatName val="0"/>
              <c:showSerName val="0"/>
              <c:showPercent val="0"/>
              <c:showBubbleSize val="0"/>
            </c:dLbl>
            <c:dLbl>
              <c:idx val="10"/>
              <c:tx>
                <c:rich>
                  <a:bodyPr/>
                  <a:lstStyle/>
                  <a:p>
                    <a:r>
                      <a:t>254.56</a:t>
                    </a:r>
                  </a:p>
                </c:rich>
              </c:tx>
              <c:showLegendKey val="0"/>
              <c:showVal val="1"/>
              <c:showCatName val="0"/>
              <c:showSerName val="0"/>
              <c:showPercent val="0"/>
              <c:showBubbleSize val="0"/>
            </c:dLbl>
            <c:dLbl>
              <c:idx val="11"/>
              <c:tx>
                <c:rich>
                  <a:bodyPr/>
                  <a:lstStyle/>
                  <a:p>
                    <a:r>
                      <a:t>463.05</a:t>
                    </a:r>
                  </a:p>
                </c:rich>
              </c:tx>
              <c:showLegendKey val="0"/>
              <c:showVal val="1"/>
              <c:showCatName val="0"/>
              <c:showSerName val="0"/>
              <c:showPercent val="0"/>
              <c:showBubbleSize val="0"/>
            </c:dLbl>
            <c:dLbl>
              <c:idx val="12"/>
              <c:tx>
                <c:rich>
                  <a:bodyPr/>
                  <a:lstStyle/>
                  <a:p>
                    <a:r>
                      <a:t>288.53</a:t>
                    </a:r>
                  </a:p>
                </c:rich>
              </c:tx>
              <c:showLegendKey val="0"/>
              <c:showVal val="1"/>
              <c:showCatName val="0"/>
              <c:showSerName val="0"/>
              <c:showPercent val="0"/>
              <c:showBubbleSize val="0"/>
            </c:dLbl>
            <c:dLbl>
              <c:idx val="13"/>
              <c:tx>
                <c:rich>
                  <a:bodyPr/>
                  <a:lstStyle/>
                  <a:p>
                    <a:r>
                      <a:t>592.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Hawaiian Tropic Other Sunscreen Adults Cosmetics Crema 50+ 240Ml</c:v>
                </c:pt>
                <c:pt idx="1">
                  <c:v>Edgewell Hawaiian Tropic Sheer Touch Sunscreen Adults Cosmetics Crema 50 120Ml</c:v>
                </c:pt>
                <c:pt idx="2">
                  <c:v>Edgewell Hawaiian Tropic Sheer Touch Sunscreen Adults Cosmetics Crema 30 - 49 240Ml</c:v>
                </c:pt>
                <c:pt idx="3">
                  <c:v>Edgewell Hawaiian Tropic Baby Sunscreen Baby Cosmetics Crema 50+ 240Ml</c:v>
                </c:pt>
                <c:pt idx="4">
                  <c:v>Beiersdorf Nivea Sunscreen Adults Cosmetics Crema 50+ 200Ml</c:v>
                </c:pt>
                <c:pt idx="5">
                  <c:v>Beiersdorf Nivea Sunscreen Adults Cosmetics Crema 50 50Ml</c:v>
                </c:pt>
                <c:pt idx="6">
                  <c:v>J&amp;J Neutrogena Sunscreen Adults Derma Crema 50+ 40Ml</c:v>
                </c:pt>
                <c:pt idx="7">
                  <c:v>J&amp;J Neutrogena Sunscreen Adults Derma Crema 50 200Ml</c:v>
                </c:pt>
                <c:pt idx="8">
                  <c:v>Beiersdorf Nivea Sunscreen Adults Cosmetics Crema 50+ 40Ml</c:v>
                </c:pt>
                <c:pt idx="9">
                  <c:v>J&amp;J Neutrogena Sunscreen Adults Derma Crema 50 120Ml</c:v>
                </c:pt>
                <c:pt idx="10">
                  <c:v>Beiersdorf Nivea Sunscreen Adults Cosmetics Crema 50+ 50Ml</c:v>
                </c:pt>
                <c:pt idx="11">
                  <c:v>J&amp;J Neutrogena Sunscreen Adults Derma Crema 50 40Ml</c:v>
                </c:pt>
                <c:pt idx="12">
                  <c:v>Beiersdorf Nivea Sunscreen Adults Cosmetics Crema 30 - 49 200Ml</c:v>
                </c:pt>
                <c:pt idx="13">
                  <c:v>nan</c:v>
                </c:pt>
              </c:strCache>
            </c:strRef>
          </c:cat>
          <c:val>
            <c:numRef>
              <c:f>Sheet1!$B$2:$B$15</c:f>
              <c:numCache>
                <c:formatCode>General</c:formatCode>
                <c:ptCount val="14"/>
                <c:pt idx="0">
                  <c:v>312.14</c:v>
                </c:pt>
                <c:pt idx="1">
                  <c:v>189.54</c:v>
                </c:pt>
                <c:pt idx="2">
                  <c:v>300.48</c:v>
                </c:pt>
                <c:pt idx="3">
                  <c:v>265.47</c:v>
                </c:pt>
                <c:pt idx="4">
                  <c:v>305.54</c:v>
                </c:pt>
                <c:pt idx="5">
                  <c:v>271.17</c:v>
                </c:pt>
                <c:pt idx="6">
                  <c:v>379.06</c:v>
                </c:pt>
                <c:pt idx="7">
                  <c:v>364.11</c:v>
                </c:pt>
                <c:pt idx="8">
                  <c:v>271.03</c:v>
                </c:pt>
                <c:pt idx="9">
                  <c:v>268.43</c:v>
                </c:pt>
                <c:pt idx="10">
                  <c:v>254.56</c:v>
                </c:pt>
                <c:pt idx="11">
                  <c:v>463.05</c:v>
                </c:pt>
                <c:pt idx="12">
                  <c:v>288.53</c:v>
                </c:pt>
                <c:pt idx="13">
                  <c:v>592.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showLegendKey val="0"/>
              <c:showVal val="1"/>
              <c:showCatName val="0"/>
              <c:showSerName val="0"/>
              <c:showPercent val="0"/>
              <c:showBubbleSize val="0"/>
            </c:dLbl>
            <c:dLbl>
              <c:idx val="1"/>
              <c:tx>
                <c:rich>
                  <a:bodyPr/>
                  <a:lstStyle/>
                  <a:p>
                    <a:r>
                      <a:t>290.34</a:t>
                    </a:r>
                  </a:p>
                </c:rich>
              </c:tx>
              <c:showLegendKey val="0"/>
              <c:showVal val="1"/>
              <c:showCatName val="0"/>
              <c:showSerName val="0"/>
              <c:showPercent val="0"/>
              <c:showBubbleSize val="0"/>
            </c:dLbl>
            <c:dLbl>
              <c:idx val="2"/>
              <c:tx>
                <c:rich>
                  <a:bodyPr/>
                  <a:lstStyle/>
                  <a:p>
                    <a:r>
                      <a:t>296.2</a:t>
                    </a:r>
                  </a:p>
                </c:rich>
              </c:tx>
              <c:showLegendKey val="0"/>
              <c:showVal val="1"/>
              <c:showCatName val="0"/>
              <c:showSerName val="0"/>
              <c:showPercent val="0"/>
              <c:showBubbleSize val="0"/>
            </c:dLbl>
            <c:dLbl>
              <c:idx val="3"/>
              <c:tx>
                <c:rich>
                  <a:bodyPr/>
                  <a:lstStyle/>
                  <a:p>
                    <a:r>
                      <a:t>261.01</a:t>
                    </a:r>
                  </a:p>
                </c:rich>
              </c:tx>
              <c:showLegendKey val="0"/>
              <c:showVal val="1"/>
              <c:showCatName val="0"/>
              <c:showSerName val="0"/>
              <c:showPercent val="0"/>
              <c:showBubbleSize val="0"/>
            </c:dLbl>
            <c:dLbl>
              <c:idx val="4"/>
              <c:tx>
                <c:rich>
                  <a:bodyPr/>
                  <a:lstStyle/>
                  <a:p>
                    <a:r>
                      <a:t>274.45</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379.06</a:t>
                    </a:r>
                  </a:p>
                </c:rich>
              </c:tx>
              <c:showLegendKey val="0"/>
              <c:showVal val="1"/>
              <c:showCatName val="0"/>
              <c:showSerName val="0"/>
              <c:showPercent val="0"/>
              <c:showBubbleSize val="0"/>
            </c:dLbl>
            <c:dLbl>
              <c:idx val="8"/>
              <c:tx>
                <c:rich>
                  <a:bodyPr/>
                  <a:lstStyle/>
                  <a:p>
                    <a:r>
                      <a:t>364.11</a:t>
                    </a:r>
                  </a:p>
                </c:rich>
              </c:tx>
              <c:showLegendKey val="0"/>
              <c:showVal val="1"/>
              <c:showCatName val="0"/>
              <c:showSerName val="0"/>
              <c:showPercent val="0"/>
              <c:showBubbleSize val="0"/>
            </c:dLbl>
            <c:dLbl>
              <c:idx val="9"/>
              <c:tx>
                <c:rich>
                  <a:bodyPr/>
                  <a:lstStyle/>
                  <a:p>
                    <a:r>
                      <a:t>271.03</a:t>
                    </a:r>
                  </a:p>
                </c:rich>
              </c:tx>
              <c:showLegendKey val="0"/>
              <c:showVal val="1"/>
              <c:showCatName val="0"/>
              <c:showSerName val="0"/>
              <c:showPercent val="0"/>
              <c:showBubbleSize val="0"/>
            </c:dLbl>
            <c:dLbl>
              <c:idx val="10"/>
              <c:tx>
                <c:rich>
                  <a:bodyPr/>
                  <a:lstStyle/>
                  <a:p>
                    <a:r>
                      <a:t>268.43</a:t>
                    </a:r>
                  </a:p>
                </c:rich>
              </c:tx>
              <c:showLegendKey val="0"/>
              <c:showVal val="1"/>
              <c:showCatName val="0"/>
              <c:showSerName val="0"/>
              <c:showPercent val="0"/>
              <c:showBubbleSize val="0"/>
            </c:dLbl>
            <c:dLbl>
              <c:idx val="11"/>
              <c:tx>
                <c:rich>
                  <a:bodyPr/>
                  <a:lstStyle/>
                  <a:p>
                    <a:r>
                      <a:t>254.56</a:t>
                    </a:r>
                  </a:p>
                </c:rich>
              </c:tx>
              <c:showLegendKey val="0"/>
              <c:showVal val="1"/>
              <c:showCatName val="0"/>
              <c:showSerName val="0"/>
              <c:showPercent val="0"/>
              <c:showBubbleSize val="0"/>
            </c:dLbl>
            <c:dLbl>
              <c:idx val="12"/>
              <c:tx>
                <c:rich>
                  <a:bodyPr/>
                  <a:lstStyle/>
                  <a:p>
                    <a:r>
                      <a:t>463.05</a:t>
                    </a:r>
                  </a:p>
                </c:rich>
              </c:tx>
              <c:showLegendKey val="0"/>
              <c:showVal val="1"/>
              <c:showCatName val="0"/>
              <c:showSerName val="0"/>
              <c:showPercent val="0"/>
              <c:showBubbleSize val="0"/>
            </c:dLbl>
            <c:dLbl>
              <c:idx val="13"/>
              <c:tx>
                <c:rich>
                  <a:bodyPr/>
                  <a:lstStyle/>
                  <a:p>
                    <a:r>
                      <a:t>288.53</a:t>
                    </a:r>
                  </a:p>
                </c:rich>
              </c:tx>
              <c:showLegendKey val="0"/>
              <c:showVal val="1"/>
              <c:showCatName val="0"/>
              <c:showSerName val="0"/>
              <c:showPercent val="0"/>
              <c:showBubbleSize val="0"/>
            </c:dLbl>
            <c:dLbl>
              <c:idx val="14"/>
              <c:tx>
                <c:rich>
                  <a:bodyPr/>
                  <a:lstStyle/>
                  <a:p>
                    <a:r>
                      <a:t>592.8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Kids Sport Sunscreen Kids Cosmetics Crema 50 180Ml</c:v>
                </c:pt>
                <c:pt idx="4">
                  <c:v>Edgewell Banana Boat Bloqueador Sunscreen Adults Cosmetics Crema 50 236Ml</c:v>
                </c:pt>
                <c:pt idx="5">
                  <c:v>Beiersdorf Nivea Sunscreen Adults Cosmetics Crema 50+ 200Ml</c:v>
                </c:pt>
                <c:pt idx="6">
                  <c:v>Beiersdorf Nivea Sunscreen Adults Cosmetics Crema 50 50Ml</c:v>
                </c:pt>
                <c:pt idx="7">
                  <c:v>J&amp;J Neutrogena Sunscreen Adults Derma Crema 50+ 40Ml</c:v>
                </c:pt>
                <c:pt idx="8">
                  <c:v>J&amp;J Neutrogena Sunscreen Adults Derma Crema 50 200Ml</c:v>
                </c:pt>
                <c:pt idx="9">
                  <c:v>Beiersdorf Nivea Sunscreen Adults Cosmetics Crema 50+ 40Ml</c:v>
                </c:pt>
                <c:pt idx="10">
                  <c:v>J&amp;J Neutrogena Sunscreen Adults Derma Crema 50 120Ml</c:v>
                </c:pt>
                <c:pt idx="11">
                  <c:v>Beiersdorf Nivea Sunscreen Adults Cosmetics Crema 50+ 50Ml</c:v>
                </c:pt>
                <c:pt idx="12">
                  <c:v>J&amp;J Neutrogena Sunscreen Adults Derma Crema 50 40Ml</c:v>
                </c:pt>
                <c:pt idx="13">
                  <c:v>Beiersdorf Nivea Sunscreen Adults Cosmetics Crema 30 - 49 200Ml</c:v>
                </c:pt>
                <c:pt idx="14">
                  <c:v>nan</c:v>
                </c:pt>
              </c:strCache>
            </c:strRef>
          </c:cat>
          <c:val>
            <c:numRef>
              <c:f>Sheet1!$B$2:$B$16</c:f>
              <c:numCache>
                <c:formatCode>General</c:formatCode>
                <c:ptCount val="15"/>
                <c:pt idx="0">
                  <c:v>281.61</c:v>
                </c:pt>
                <c:pt idx="1">
                  <c:v>290.34</c:v>
                </c:pt>
                <c:pt idx="2">
                  <c:v>296.2</c:v>
                </c:pt>
                <c:pt idx="3">
                  <c:v>261.01</c:v>
                </c:pt>
                <c:pt idx="4">
                  <c:v>274.45</c:v>
                </c:pt>
                <c:pt idx="5">
                  <c:v>305.54</c:v>
                </c:pt>
                <c:pt idx="6">
                  <c:v>271.17</c:v>
                </c:pt>
                <c:pt idx="7">
                  <c:v>379.06</c:v>
                </c:pt>
                <c:pt idx="8">
                  <c:v>364.11</c:v>
                </c:pt>
                <c:pt idx="9">
                  <c:v>271.03</c:v>
                </c:pt>
                <c:pt idx="10">
                  <c:v>268.43</c:v>
                </c:pt>
                <c:pt idx="11">
                  <c:v>254.56</c:v>
                </c:pt>
                <c:pt idx="12">
                  <c:v>463.05</c:v>
                </c:pt>
                <c:pt idx="13">
                  <c:v>288.53</c:v>
                </c:pt>
                <c:pt idx="14">
                  <c:v>592.8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4.74</a:t>
                    </a:r>
                  </a:p>
                </c:rich>
              </c:tx>
              <c:showLegendKey val="0"/>
              <c:showVal val="1"/>
              <c:showCatName val="0"/>
              <c:showSerName val="0"/>
              <c:showPercent val="0"/>
              <c:showBubbleSize val="0"/>
            </c:dLbl>
            <c:dLbl>
              <c:idx val="1"/>
              <c:tx>
                <c:rich>
                  <a:bodyPr/>
                  <a:lstStyle/>
                  <a:p>
                    <a:r>
                      <a:t>306.26</a:t>
                    </a:r>
                  </a:p>
                </c:rich>
              </c:tx>
              <c:showLegendKey val="0"/>
              <c:showVal val="1"/>
              <c:showCatName val="0"/>
              <c:showSerName val="0"/>
              <c:showPercent val="0"/>
              <c:showBubbleSize val="0"/>
            </c:dLbl>
            <c:dLbl>
              <c:idx val="2"/>
              <c:tx>
                <c:rich>
                  <a:bodyPr/>
                  <a:lstStyle/>
                  <a:p>
                    <a:r>
                      <a:t>618.9</a:t>
                    </a:r>
                  </a:p>
                </c:rich>
              </c:tx>
              <c:showLegendKey val="0"/>
              <c:showVal val="1"/>
              <c:showCatName val="0"/>
              <c:showSerName val="0"/>
              <c:showPercent val="0"/>
              <c:showBubbleSize val="0"/>
            </c:dLbl>
            <c:dLbl>
              <c:idx val="3"/>
              <c:tx>
                <c:rich>
                  <a:bodyPr/>
                  <a:lstStyle/>
                  <a:p>
                    <a:r>
                      <a:t>645.72</a:t>
                    </a:r>
                  </a:p>
                </c:rich>
              </c:tx>
              <c:showLegendKey val="0"/>
              <c:showVal val="1"/>
              <c:showCatName val="0"/>
              <c:showSerName val="0"/>
              <c:showPercent val="0"/>
              <c:showBubbleSize val="0"/>
            </c:dLbl>
            <c:dLbl>
              <c:idx val="4"/>
              <c:tx>
                <c:rich>
                  <a:bodyPr/>
                  <a:lstStyle/>
                  <a:p>
                    <a:r>
                      <a:t>655.84</a:t>
                    </a:r>
                  </a:p>
                </c:rich>
              </c:tx>
              <c:showLegendKey val="0"/>
              <c:showVal val="1"/>
              <c:showCatName val="0"/>
              <c:showSerName val="0"/>
              <c:showPercent val="0"/>
              <c:showBubbleSize val="0"/>
            </c:dLbl>
            <c:dLbl>
              <c:idx val="5"/>
              <c:tx>
                <c:rich>
                  <a:bodyPr/>
                  <a:lstStyle/>
                  <a:p>
                    <a:r>
                      <a:t>546.0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dgewell Banana Boat Advanced Protection Sunscreen Adults Cosmetics Fluido 50+ 50Ml</c:v>
                </c:pt>
                <c:pt idx="1">
                  <c:v>Beiersdorf Nivea Sunscreen Adults Cosmetics Fluido 50+ 40Ml</c:v>
                </c:pt>
                <c:pt idx="2">
                  <c:v>L'Oreal La Roche-Posay Sunscreen Adults Derma Fluido 50+ 50Ml</c:v>
                </c:pt>
                <c:pt idx="3">
                  <c:v>Isdin Isdin Sunscreen Adults Derma Fluido 50+ 50Ml</c:v>
                </c:pt>
                <c:pt idx="4">
                  <c:v>Isdin Isdin Sunscreen Baby Derma Fluido 50 50Ml</c:v>
                </c:pt>
                <c:pt idx="5">
                  <c:v>L'Oreal La Roche-Posay Sunscreen Kids Derma Fluido 50+ 50Ml</c:v>
                </c:pt>
              </c:strCache>
            </c:strRef>
          </c:cat>
          <c:val>
            <c:numRef>
              <c:f>Sheet1!$B$2:$B$7</c:f>
              <c:numCache>
                <c:formatCode>General</c:formatCode>
                <c:ptCount val="6"/>
                <c:pt idx="0">
                  <c:v>294.74</c:v>
                </c:pt>
                <c:pt idx="1">
                  <c:v>306.26</c:v>
                </c:pt>
                <c:pt idx="2">
                  <c:v>618.9</c:v>
                </c:pt>
                <c:pt idx="3">
                  <c:v>645.72</c:v>
                </c:pt>
                <c:pt idx="4">
                  <c:v>655.84</c:v>
                </c:pt>
                <c:pt idx="5">
                  <c:v>546.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05.29</a:t>
                    </a:r>
                  </a:p>
                </c:rich>
              </c:tx>
              <c:showLegendKey val="0"/>
              <c:showVal val="1"/>
              <c:showCatName val="0"/>
              <c:showSerName val="0"/>
              <c:showPercent val="0"/>
              <c:showBubbleSize val="0"/>
            </c:dLbl>
            <c:dLbl>
              <c:idx val="2"/>
              <c:tx>
                <c:rich>
                  <a:bodyPr/>
                  <a:lstStyle/>
                  <a:p>
                    <a:r>
                      <a:t>101.15</a:t>
                    </a:r>
                  </a:p>
                </c:rich>
              </c:tx>
              <c:showLegendKey val="0"/>
              <c:showVal val="1"/>
              <c:showCatName val="0"/>
              <c:showSerName val="0"/>
              <c:showPercent val="0"/>
              <c:showBubbleSize val="0"/>
            </c:dLbl>
            <c:dLbl>
              <c:idx val="3"/>
              <c:tx>
                <c:rich>
                  <a:bodyPr/>
                  <a:lstStyle/>
                  <a:p>
                    <a:r>
                      <a:t>330.69</a:t>
                    </a:r>
                  </a:p>
                </c:rich>
              </c:tx>
              <c:showLegendKey val="0"/>
              <c:showVal val="1"/>
              <c:showCatName val="0"/>
              <c:showSerName val="0"/>
              <c:showPercent val="0"/>
              <c:showBubbleSize val="0"/>
            </c:dLbl>
            <c:dLbl>
              <c:idx val="4"/>
              <c:tx>
                <c:rich>
                  <a:bodyPr/>
                  <a:lstStyle/>
                  <a:p>
                    <a:r>
                      <a:t>324.32</a:t>
                    </a:r>
                  </a:p>
                </c:rich>
              </c:tx>
              <c:showLegendKey val="0"/>
              <c:showVal val="1"/>
              <c:showCatName val="0"/>
              <c:showSerName val="0"/>
              <c:showPercent val="0"/>
              <c:showBubbleSize val="0"/>
            </c:dLbl>
            <c:dLbl>
              <c:idx val="5"/>
              <c:tx>
                <c:rich>
                  <a:bodyPr/>
                  <a:lstStyle/>
                  <a:p>
                    <a:r>
                      <a:t>624.41</a:t>
                    </a:r>
                  </a:p>
                </c:rich>
              </c:tx>
              <c:showLegendKey val="0"/>
              <c:showVal val="1"/>
              <c:showCatName val="0"/>
              <c:showSerName val="0"/>
              <c:showPercent val="0"/>
              <c:showBubbleSize val="0"/>
            </c:dLbl>
            <c:dLbl>
              <c:idx val="6"/>
              <c:tx>
                <c:rich>
                  <a:bodyPr/>
                  <a:lstStyle/>
                  <a:p>
                    <a:r>
                      <a:t>733.06</a:t>
                    </a:r>
                  </a:p>
                </c:rich>
              </c:tx>
              <c:showLegendKey val="0"/>
              <c:showVal val="1"/>
              <c:showCatName val="0"/>
              <c:showSerName val="0"/>
              <c:showPercent val="0"/>
              <c:showBubbleSize val="0"/>
            </c:dLbl>
            <c:dLbl>
              <c:idx val="7"/>
              <c:tx>
                <c:rich>
                  <a:bodyPr/>
                  <a:lstStyle/>
                  <a:p>
                    <a:r>
                      <a:t>325.47</a:t>
                    </a:r>
                  </a:p>
                </c:rich>
              </c:tx>
              <c:showLegendKey val="0"/>
              <c:showVal val="1"/>
              <c:showCatName val="0"/>
              <c:showSerName val="0"/>
              <c:showPercent val="0"/>
              <c:showBubbleSize val="0"/>
            </c:dLbl>
            <c:dLbl>
              <c:idx val="8"/>
              <c:tx>
                <c:rich>
                  <a:bodyPr/>
                  <a:lstStyle/>
                  <a:p>
                    <a:r>
                      <a:t>300.61</a:t>
                    </a:r>
                  </a:p>
                </c:rich>
              </c:tx>
              <c:showLegendKey val="0"/>
              <c:showVal val="1"/>
              <c:showCatName val="0"/>
              <c:showSerName val="0"/>
              <c:showPercent val="0"/>
              <c:showBubbleSize val="0"/>
            </c:dLbl>
            <c:dLbl>
              <c:idx val="9"/>
              <c:tx>
                <c:rich>
                  <a:bodyPr/>
                  <a:lstStyle/>
                  <a:p>
                    <a:r>
                      <a:t>187.84</a:t>
                    </a:r>
                  </a:p>
                </c:rich>
              </c:tx>
              <c:showLegendKey val="0"/>
              <c:showVal val="1"/>
              <c:showCatName val="0"/>
              <c:showSerName val="0"/>
              <c:showPercent val="0"/>
              <c:showBubbleSize val="0"/>
            </c:dLbl>
            <c:dLbl>
              <c:idx val="10"/>
              <c:tx>
                <c:rich>
                  <a:bodyPr/>
                  <a:lstStyle/>
                  <a:p>
                    <a:r>
                      <a:t>336.44</a:t>
                    </a:r>
                  </a:p>
                </c:rich>
              </c:tx>
              <c:showLegendKey val="0"/>
              <c:showVal val="1"/>
              <c:showCatName val="0"/>
              <c:showSerName val="0"/>
              <c:showPercent val="0"/>
              <c:showBubbleSize val="0"/>
            </c:dLbl>
            <c:dLbl>
              <c:idx val="11"/>
              <c:tx>
                <c:rich>
                  <a:bodyPr/>
                  <a:lstStyle/>
                  <a:p>
                    <a:r>
                      <a:t>292.55</a:t>
                    </a:r>
                  </a:p>
                </c:rich>
              </c:tx>
              <c:showLegendKey val="0"/>
              <c:showVal val="1"/>
              <c:showCatName val="0"/>
              <c:showSerName val="0"/>
              <c:showPercent val="0"/>
              <c:showBubbleSize val="0"/>
            </c:dLbl>
            <c:dLbl>
              <c:idx val="12"/>
              <c:tx>
                <c:rich>
                  <a:bodyPr/>
                  <a:lstStyle/>
                  <a:p>
                    <a:r>
                      <a:t>266.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Ozono Sunscreen Adults Cosmetics Spray Liquido 50+ 180Ml</c:v>
                </c:pt>
                <c:pt idx="4">
                  <c:v>Edgewell Hawaiian Tropic Island Sport Sunscreen Adults Sport Spray Liquido 50 220Ml</c:v>
                </c:pt>
                <c:pt idx="5">
                  <c:v>Isdin Isdin Sunscreen Adults Derma Spray Liquido 50 100Ml</c:v>
                </c:pt>
                <c:pt idx="6">
                  <c:v>Isdin Isdin Sunscreen Adults Derma Liquido 30 - 49 50Ml</c:v>
                </c:pt>
                <c:pt idx="7">
                  <c:v>L'Oreal Loreal Paris Sunscreen Adults Derma Liquido 50+ 40Ml</c:v>
                </c:pt>
                <c:pt idx="8">
                  <c:v>Beiersdorf Nivea Sunscreen Adults Cosmetics Liquido 50 200Ml</c:v>
                </c:pt>
                <c:pt idx="9">
                  <c:v>Beiersdorf Nivea Sunscreen Adults Cosmetics Liquido 50+ 125Ml</c:v>
                </c:pt>
                <c:pt idx="10">
                  <c:v>Beiersdorf Nivea Sunscreen Adults Cosmetics Spray Liquido 50 200Ml</c:v>
                </c:pt>
                <c:pt idx="11">
                  <c:v>Beiersdorf Nivea Sunscreen Kids Cosmetics Liquido 50+ 200Ml</c:v>
                </c:pt>
                <c:pt idx="12">
                  <c:v>Beiersdorf Nivea Sunscreen Adults Cosmetics Liquido 30 - 49 200Ml</c:v>
                </c:pt>
              </c:strCache>
            </c:strRef>
          </c:cat>
          <c:val>
            <c:numRef>
              <c:f>Sheet1!$B$2:$B$14</c:f>
              <c:numCache>
                <c:formatCode>General</c:formatCode>
                <c:ptCount val="13"/>
                <c:pt idx="0">
                  <c:v>305.1</c:v>
                </c:pt>
                <c:pt idx="1">
                  <c:v>305.29</c:v>
                </c:pt>
                <c:pt idx="2">
                  <c:v>101.15</c:v>
                </c:pt>
                <c:pt idx="3">
                  <c:v>330.69</c:v>
                </c:pt>
                <c:pt idx="4">
                  <c:v>324.32</c:v>
                </c:pt>
                <c:pt idx="5">
                  <c:v>624.41</c:v>
                </c:pt>
                <c:pt idx="6">
                  <c:v>733.06</c:v>
                </c:pt>
                <c:pt idx="7">
                  <c:v>325.47</c:v>
                </c:pt>
                <c:pt idx="8">
                  <c:v>300.61</c:v>
                </c:pt>
                <c:pt idx="9">
                  <c:v>187.84</c:v>
                </c:pt>
                <c:pt idx="10">
                  <c:v>336.44</c:v>
                </c:pt>
                <c:pt idx="11">
                  <c:v>292.55</c:v>
                </c:pt>
                <c:pt idx="12">
                  <c:v>266.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1.93</a:t>
                    </a:r>
                  </a:p>
                </c:rich>
              </c:tx>
              <c:showLegendKey val="0"/>
              <c:showVal val="1"/>
              <c:showCatName val="0"/>
              <c:showSerName val="0"/>
              <c:showPercent val="0"/>
              <c:showBubbleSize val="0"/>
            </c:dLbl>
            <c:dLbl>
              <c:idx val="1"/>
              <c:tx>
                <c:rich>
                  <a:bodyPr/>
                  <a:lstStyle/>
                  <a:p>
                    <a:r>
                      <a:t>298.88</a:t>
                    </a:r>
                  </a:p>
                </c:rich>
              </c:tx>
              <c:showLegendKey val="0"/>
              <c:showVal val="1"/>
              <c:showCatName val="0"/>
              <c:showSerName val="0"/>
              <c:showPercent val="0"/>
              <c:showBubbleSize val="0"/>
            </c:dLbl>
            <c:dLbl>
              <c:idx val="2"/>
              <c:tx>
                <c:rich>
                  <a:bodyPr/>
                  <a:lstStyle/>
                  <a:p>
                    <a:r>
                      <a:t>312.87</a:t>
                    </a:r>
                  </a:p>
                </c:rich>
              </c:tx>
              <c:showLegendKey val="0"/>
              <c:showVal val="1"/>
              <c:showCatName val="0"/>
              <c:showSerName val="0"/>
              <c:showPercent val="0"/>
              <c:showBubbleSize val="0"/>
            </c:dLbl>
            <c:dLbl>
              <c:idx val="3"/>
              <c:tx>
                <c:rich>
                  <a:bodyPr/>
                  <a:lstStyle/>
                  <a:p>
                    <a:r>
                      <a:t>85.64</a:t>
                    </a:r>
                  </a:p>
                </c:rich>
              </c:tx>
              <c:showLegendKey val="0"/>
              <c:showVal val="1"/>
              <c:showCatName val="0"/>
              <c:showSerName val="0"/>
              <c:showPercent val="0"/>
              <c:showBubbleSize val="0"/>
            </c:dLbl>
            <c:dLbl>
              <c:idx val="4"/>
              <c:tx>
                <c:rich>
                  <a:bodyPr/>
                  <a:lstStyle/>
                  <a:p>
                    <a:r>
                      <a:t>254.2</a:t>
                    </a:r>
                  </a:p>
                </c:rich>
              </c:tx>
              <c:showLegendKey val="0"/>
              <c:showVal val="1"/>
              <c:showCatName val="0"/>
              <c:showSerName val="0"/>
              <c:showPercent val="0"/>
              <c:showBubbleSize val="0"/>
            </c:dLbl>
            <c:dLbl>
              <c:idx val="5"/>
              <c:tx>
                <c:rich>
                  <a:bodyPr/>
                  <a:lstStyle/>
                  <a:p>
                    <a:r>
                      <a:t>624.41</a:t>
                    </a:r>
                  </a:p>
                </c:rich>
              </c:tx>
              <c:showLegendKey val="0"/>
              <c:showVal val="1"/>
              <c:showCatName val="0"/>
              <c:showSerName val="0"/>
              <c:showPercent val="0"/>
              <c:showBubbleSize val="0"/>
            </c:dLbl>
            <c:dLbl>
              <c:idx val="6"/>
              <c:tx>
                <c:rich>
                  <a:bodyPr/>
                  <a:lstStyle/>
                  <a:p>
                    <a:r>
                      <a:t>733.06</a:t>
                    </a:r>
                  </a:p>
                </c:rich>
              </c:tx>
              <c:showLegendKey val="0"/>
              <c:showVal val="1"/>
              <c:showCatName val="0"/>
              <c:showSerName val="0"/>
              <c:showPercent val="0"/>
              <c:showBubbleSize val="0"/>
            </c:dLbl>
            <c:dLbl>
              <c:idx val="7"/>
              <c:tx>
                <c:rich>
                  <a:bodyPr/>
                  <a:lstStyle/>
                  <a:p>
                    <a:r>
                      <a:t>325.47</a:t>
                    </a:r>
                  </a:p>
                </c:rich>
              </c:tx>
              <c:showLegendKey val="0"/>
              <c:showVal val="1"/>
              <c:showCatName val="0"/>
              <c:showSerName val="0"/>
              <c:showPercent val="0"/>
              <c:showBubbleSize val="0"/>
            </c:dLbl>
            <c:dLbl>
              <c:idx val="8"/>
              <c:tx>
                <c:rich>
                  <a:bodyPr/>
                  <a:lstStyle/>
                  <a:p>
                    <a:r>
                      <a:t>300.61</a:t>
                    </a:r>
                  </a:p>
                </c:rich>
              </c:tx>
              <c:showLegendKey val="0"/>
              <c:showVal val="1"/>
              <c:showCatName val="0"/>
              <c:showSerName val="0"/>
              <c:showPercent val="0"/>
              <c:showBubbleSize val="0"/>
            </c:dLbl>
            <c:dLbl>
              <c:idx val="9"/>
              <c:tx>
                <c:rich>
                  <a:bodyPr/>
                  <a:lstStyle/>
                  <a:p>
                    <a:r>
                      <a:t>187.84</a:t>
                    </a:r>
                  </a:p>
                </c:rich>
              </c:tx>
              <c:showLegendKey val="0"/>
              <c:showVal val="1"/>
              <c:showCatName val="0"/>
              <c:showSerName val="0"/>
              <c:showPercent val="0"/>
              <c:showBubbleSize val="0"/>
            </c:dLbl>
            <c:dLbl>
              <c:idx val="10"/>
              <c:tx>
                <c:rich>
                  <a:bodyPr/>
                  <a:lstStyle/>
                  <a:p>
                    <a:r>
                      <a:t>336.44</a:t>
                    </a:r>
                  </a:p>
                </c:rich>
              </c:tx>
              <c:showLegendKey val="0"/>
              <c:showVal val="1"/>
              <c:showCatName val="0"/>
              <c:showSerName val="0"/>
              <c:showPercent val="0"/>
              <c:showBubbleSize val="0"/>
            </c:dLbl>
            <c:dLbl>
              <c:idx val="11"/>
              <c:tx>
                <c:rich>
                  <a:bodyPr/>
                  <a:lstStyle/>
                  <a:p>
                    <a:r>
                      <a:t>292.55</a:t>
                    </a:r>
                  </a:p>
                </c:rich>
              </c:tx>
              <c:showLegendKey val="0"/>
              <c:showVal val="1"/>
              <c:showCatName val="0"/>
              <c:showSerName val="0"/>
              <c:showPercent val="0"/>
              <c:showBubbleSize val="0"/>
            </c:dLbl>
            <c:dLbl>
              <c:idx val="12"/>
              <c:tx>
                <c:rich>
                  <a:bodyPr/>
                  <a:lstStyle/>
                  <a:p>
                    <a:r>
                      <a:t>266.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Dry Balance Sunscreen Adults Sport Spray Liquido 50 220Ml</c:v>
                </c:pt>
                <c:pt idx="1">
                  <c:v>Edgewell Banana Boat Advanced Protection Sunscreen Adults Cosmetics Liquido 50+ 240Ml</c:v>
                </c:pt>
                <c:pt idx="2">
                  <c:v>Edgewell Banana Boat Aqua Protect Sunscreen Adults Cosmetics Spray Liquido 50+ 170Ml</c:v>
                </c:pt>
                <c:pt idx="3">
                  <c:v>Edgewell Banana Boat Advanced Protection Sunscreen Adults Cosmetics Liquido 50+ 60Ml</c:v>
                </c:pt>
                <c:pt idx="4">
                  <c:v>Edgewell Banana Boat Advanced Protection Sunscreen Adults Cosmetics Liquido 50 180Ml</c:v>
                </c:pt>
                <c:pt idx="5">
                  <c:v>Isdin Isdin Sunscreen Adults Derma Spray Liquido 50 100Ml</c:v>
                </c:pt>
                <c:pt idx="6">
                  <c:v>Isdin Isdin Sunscreen Adults Derma Liquido 30 - 49 50Ml</c:v>
                </c:pt>
                <c:pt idx="7">
                  <c:v>L'Oreal Loreal Paris Sunscreen Adults Derma Liquido 50+ 40Ml</c:v>
                </c:pt>
                <c:pt idx="8">
                  <c:v>Beiersdorf Nivea Sunscreen Adults Cosmetics Liquido 50 200Ml</c:v>
                </c:pt>
                <c:pt idx="9">
                  <c:v>Beiersdorf Nivea Sunscreen Adults Cosmetics Liquido 50+ 125Ml</c:v>
                </c:pt>
                <c:pt idx="10">
                  <c:v>Beiersdorf Nivea Sunscreen Adults Cosmetics Spray Liquido 50 200Ml</c:v>
                </c:pt>
                <c:pt idx="11">
                  <c:v>Beiersdorf Nivea Sunscreen Kids Cosmetics Liquido 50+ 200Ml</c:v>
                </c:pt>
                <c:pt idx="12">
                  <c:v>Beiersdorf Nivea Sunscreen Adults Cosmetics Liquido 30 - 49 200Ml</c:v>
                </c:pt>
              </c:strCache>
            </c:strRef>
          </c:cat>
          <c:val>
            <c:numRef>
              <c:f>Sheet1!$B$2:$B$14</c:f>
              <c:numCache>
                <c:formatCode>General</c:formatCode>
                <c:ptCount val="13"/>
                <c:pt idx="0">
                  <c:v>311.93</c:v>
                </c:pt>
                <c:pt idx="1">
                  <c:v>298.88</c:v>
                </c:pt>
                <c:pt idx="2">
                  <c:v>312.87</c:v>
                </c:pt>
                <c:pt idx="3">
                  <c:v>85.64</c:v>
                </c:pt>
                <c:pt idx="4">
                  <c:v>254.2</c:v>
                </c:pt>
                <c:pt idx="5">
                  <c:v>624.41</c:v>
                </c:pt>
                <c:pt idx="6">
                  <c:v>733.06</c:v>
                </c:pt>
                <c:pt idx="7">
                  <c:v>325.47</c:v>
                </c:pt>
                <c:pt idx="8">
                  <c:v>300.61</c:v>
                </c:pt>
                <c:pt idx="9">
                  <c:v>187.84</c:v>
                </c:pt>
                <c:pt idx="10">
                  <c:v>336.44</c:v>
                </c:pt>
                <c:pt idx="11">
                  <c:v>292.55</c:v>
                </c:pt>
                <c:pt idx="12">
                  <c:v>266.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showLegendKey val="0"/>
              <c:showVal val="1"/>
              <c:showCatName val="0"/>
              <c:showSerName val="0"/>
              <c:showPercent val="0"/>
              <c:showBubbleSize val="0"/>
            </c:dLbl>
            <c:dLbl>
              <c:idx val="1"/>
              <c:tx>
                <c:rich>
                  <a:bodyPr/>
                  <a:lstStyle/>
                  <a:p>
                    <a:r>
                      <a:t>278.73</a:t>
                    </a:r>
                  </a:p>
                </c:rich>
              </c:tx>
              <c:showLegendKey val="0"/>
              <c:showVal val="1"/>
              <c:showCatName val="0"/>
              <c:showSerName val="0"/>
              <c:showPercent val="0"/>
              <c:showBubbleSize val="0"/>
            </c:dLbl>
            <c:dLbl>
              <c:idx val="2"/>
              <c:tx>
                <c:rich>
                  <a:bodyPr/>
                  <a:lstStyle/>
                  <a:p>
                    <a:r>
                      <a:t>251.42</a:t>
                    </a:r>
                  </a:p>
                </c:rich>
              </c:tx>
              <c:showLegendKey val="0"/>
              <c:showVal val="1"/>
              <c:showCatName val="0"/>
              <c:showSerName val="0"/>
              <c:showPercent val="0"/>
              <c:showBubbleSize val="0"/>
            </c:dLbl>
            <c:dLbl>
              <c:idx val="3"/>
              <c:tx>
                <c:rich>
                  <a:bodyPr/>
                  <a:lstStyle/>
                  <a:p>
                    <a:r>
                      <a:t>242.11</a:t>
                    </a:r>
                  </a:p>
                </c:rich>
              </c:tx>
              <c:showLegendKey val="0"/>
              <c:showVal val="1"/>
              <c:showCatName val="0"/>
              <c:showSerName val="0"/>
              <c:showPercent val="0"/>
              <c:showBubbleSize val="0"/>
            </c:dLbl>
            <c:dLbl>
              <c:idx val="4"/>
              <c:tx>
                <c:rich>
                  <a:bodyPr/>
                  <a:lstStyle/>
                  <a:p>
                    <a:r>
                      <a:t>624.41</a:t>
                    </a:r>
                  </a:p>
                </c:rich>
              </c:tx>
              <c:showLegendKey val="0"/>
              <c:showVal val="1"/>
              <c:showCatName val="0"/>
              <c:showSerName val="0"/>
              <c:showPercent val="0"/>
              <c:showBubbleSize val="0"/>
            </c:dLbl>
            <c:dLbl>
              <c:idx val="5"/>
              <c:tx>
                <c:rich>
                  <a:bodyPr/>
                  <a:lstStyle/>
                  <a:p>
                    <a:r>
                      <a:t>733.06</a:t>
                    </a:r>
                  </a:p>
                </c:rich>
              </c:tx>
              <c:showLegendKey val="0"/>
              <c:showVal val="1"/>
              <c:showCatName val="0"/>
              <c:showSerName val="0"/>
              <c:showPercent val="0"/>
              <c:showBubbleSize val="0"/>
            </c:dLbl>
            <c:dLbl>
              <c:idx val="6"/>
              <c:tx>
                <c:rich>
                  <a:bodyPr/>
                  <a:lstStyle/>
                  <a:p>
                    <a:r>
                      <a:t>325.47</a:t>
                    </a:r>
                  </a:p>
                </c:rich>
              </c:tx>
              <c:showLegendKey val="0"/>
              <c:showVal val="1"/>
              <c:showCatName val="0"/>
              <c:showSerName val="0"/>
              <c:showPercent val="0"/>
              <c:showBubbleSize val="0"/>
            </c:dLbl>
            <c:dLbl>
              <c:idx val="7"/>
              <c:tx>
                <c:rich>
                  <a:bodyPr/>
                  <a:lstStyle/>
                  <a:p>
                    <a:r>
                      <a:t>300.61</a:t>
                    </a:r>
                  </a:p>
                </c:rich>
              </c:tx>
              <c:showLegendKey val="0"/>
              <c:showVal val="1"/>
              <c:showCatName val="0"/>
              <c:showSerName val="0"/>
              <c:showPercent val="0"/>
              <c:showBubbleSize val="0"/>
            </c:dLbl>
            <c:dLbl>
              <c:idx val="8"/>
              <c:tx>
                <c:rich>
                  <a:bodyPr/>
                  <a:lstStyle/>
                  <a:p>
                    <a:r>
                      <a:t>187.84</a:t>
                    </a:r>
                  </a:p>
                </c:rich>
              </c:tx>
              <c:showLegendKey val="0"/>
              <c:showVal val="1"/>
              <c:showCatName val="0"/>
              <c:showSerName val="0"/>
              <c:showPercent val="0"/>
              <c:showBubbleSize val="0"/>
            </c:dLbl>
            <c:dLbl>
              <c:idx val="9"/>
              <c:tx>
                <c:rich>
                  <a:bodyPr/>
                  <a:lstStyle/>
                  <a:p>
                    <a:r>
                      <a:t>336.44</a:t>
                    </a:r>
                  </a:p>
                </c:rich>
              </c:tx>
              <c:showLegendKey val="0"/>
              <c:showVal val="1"/>
              <c:showCatName val="0"/>
              <c:showSerName val="0"/>
              <c:showPercent val="0"/>
              <c:showBubbleSize val="0"/>
            </c:dLbl>
            <c:dLbl>
              <c:idx val="10"/>
              <c:tx>
                <c:rich>
                  <a:bodyPr/>
                  <a:lstStyle/>
                  <a:p>
                    <a:r>
                      <a:t>292.55</a:t>
                    </a:r>
                  </a:p>
                </c:rich>
              </c:tx>
              <c:showLegendKey val="0"/>
              <c:showVal val="1"/>
              <c:showCatName val="0"/>
              <c:showSerName val="0"/>
              <c:showPercent val="0"/>
              <c:showBubbleSize val="0"/>
            </c:dLbl>
            <c:dLbl>
              <c:idx val="11"/>
              <c:tx>
                <c:rich>
                  <a:bodyPr/>
                  <a:lstStyle/>
                  <a:p>
                    <a:r>
                      <a:t>266.7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pt idx="4">
                  <c:v>Isdin Isdin Sunscreen Adults Derma Spray Liquido 50 100Ml</c:v>
                </c:pt>
                <c:pt idx="5">
                  <c:v>Isdin Isdin Sunscreen Adults Derma Liquido 30 - 49 50Ml</c:v>
                </c:pt>
                <c:pt idx="6">
                  <c:v>L'Oreal Loreal Paris Sunscreen Adults Derma Liquido 50+ 40Ml</c:v>
                </c:pt>
                <c:pt idx="7">
                  <c:v>Beiersdorf Nivea Sunscreen Adults Cosmetics Liquido 50 200Ml</c:v>
                </c:pt>
                <c:pt idx="8">
                  <c:v>Beiersdorf Nivea Sunscreen Adults Cosmetics Liquido 50+ 125Ml</c:v>
                </c:pt>
                <c:pt idx="9">
                  <c:v>Beiersdorf Nivea Sunscreen Adults Cosmetics Spray Liquido 50 200Ml</c:v>
                </c:pt>
                <c:pt idx="10">
                  <c:v>Beiersdorf Nivea Sunscreen Kids Cosmetics Liquido 50+ 200Ml</c:v>
                </c:pt>
                <c:pt idx="11">
                  <c:v>Beiersdorf Nivea Sunscreen Adults Cosmetics Liquido 30 - 49 200Ml</c:v>
                </c:pt>
              </c:strCache>
            </c:strRef>
          </c:cat>
          <c:val>
            <c:numRef>
              <c:f>Sheet1!$B$2:$B$13</c:f>
              <c:numCache>
                <c:formatCode>General</c:formatCode>
                <c:ptCount val="12"/>
                <c:pt idx="0">
                  <c:v>265.47</c:v>
                </c:pt>
                <c:pt idx="1">
                  <c:v>278.73</c:v>
                </c:pt>
                <c:pt idx="2">
                  <c:v>251.42</c:v>
                </c:pt>
                <c:pt idx="3">
                  <c:v>242.11</c:v>
                </c:pt>
                <c:pt idx="4">
                  <c:v>624.41</c:v>
                </c:pt>
                <c:pt idx="5">
                  <c:v>733.06</c:v>
                </c:pt>
                <c:pt idx="6">
                  <c:v>325.47</c:v>
                </c:pt>
                <c:pt idx="7">
                  <c:v>300.61</c:v>
                </c:pt>
                <c:pt idx="8">
                  <c:v>187.84</c:v>
                </c:pt>
                <c:pt idx="9">
                  <c:v>336.44</c:v>
                </c:pt>
                <c:pt idx="10">
                  <c:v>292.55</c:v>
                </c:pt>
                <c:pt idx="11">
                  <c:v>266.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6.59</a:t>
                    </a:r>
                  </a:p>
                </c:rich>
              </c:tx>
              <c:showLegendKey val="0"/>
              <c:showVal val="1"/>
              <c:showCatName val="0"/>
              <c:showSerName val="0"/>
              <c:showPercent val="0"/>
              <c:showBubbleSize val="0"/>
            </c:dLbl>
            <c:dLbl>
              <c:idx val="1"/>
              <c:tx>
                <c:rich>
                  <a:bodyPr/>
                  <a:lstStyle/>
                  <a:p>
                    <a:r>
                      <a:t>268.26</a:t>
                    </a:r>
                  </a:p>
                </c:rich>
              </c:tx>
              <c:showLegendKey val="0"/>
              <c:showVal val="1"/>
              <c:showCatName val="0"/>
              <c:showSerName val="0"/>
              <c:showPercent val="0"/>
              <c:showBubbleSize val="0"/>
            </c:dLbl>
            <c:dLbl>
              <c:idx val="2"/>
              <c:tx>
                <c:rich>
                  <a:bodyPr/>
                  <a:lstStyle/>
                  <a:p>
                    <a:r>
                      <a:t>317.01</a:t>
                    </a:r>
                  </a:p>
                </c:rich>
              </c:tx>
              <c:showLegendKey val="0"/>
              <c:showVal val="1"/>
              <c:showCatName val="0"/>
              <c:showSerName val="0"/>
              <c:showPercent val="0"/>
              <c:showBubbleSize val="0"/>
            </c:dLbl>
            <c:dLbl>
              <c:idx val="3"/>
              <c:tx>
                <c:rich>
                  <a:bodyPr/>
                  <a:lstStyle/>
                  <a:p>
                    <a:r>
                      <a:t>316.77</a:t>
                    </a:r>
                  </a:p>
                </c:rich>
              </c:tx>
              <c:showLegendKey val="0"/>
              <c:showVal val="1"/>
              <c:showCatName val="0"/>
              <c:showSerName val="0"/>
              <c:showPercent val="0"/>
              <c:showBubbleSize val="0"/>
            </c:dLbl>
            <c:dLbl>
              <c:idx val="4"/>
              <c:tx>
                <c:rich>
                  <a:bodyPr/>
                  <a:lstStyle/>
                  <a:p>
                    <a:r>
                      <a:t>318.71</a:t>
                    </a:r>
                  </a:p>
                </c:rich>
              </c:tx>
              <c:showLegendKey val="0"/>
              <c:showVal val="1"/>
              <c:showCatName val="0"/>
              <c:showSerName val="0"/>
              <c:showPercent val="0"/>
              <c:showBubbleSize val="0"/>
            </c:dLbl>
            <c:dLbl>
              <c:idx val="5"/>
              <c:tx>
                <c:rich>
                  <a:bodyPr/>
                  <a:lstStyle/>
                  <a:p>
                    <a:r>
                      <a:t>284.34</a:t>
                    </a:r>
                  </a:p>
                </c:rich>
              </c:tx>
              <c:showLegendKey val="0"/>
              <c:showVal val="1"/>
              <c:showCatName val="0"/>
              <c:showSerName val="0"/>
              <c:showPercent val="0"/>
              <c:showBubbleSize val="0"/>
            </c:dLbl>
            <c:dLbl>
              <c:idx val="6"/>
              <c:tx>
                <c:rich>
                  <a:bodyPr/>
                  <a:lstStyle/>
                  <a:p>
                    <a:r>
                      <a:t>282.23</a:t>
                    </a:r>
                  </a:p>
                </c:rich>
              </c:tx>
              <c:showLegendKey val="0"/>
              <c:showVal val="1"/>
              <c:showCatName val="0"/>
              <c:showSerName val="0"/>
              <c:showPercent val="0"/>
              <c:showBubbleSize val="0"/>
            </c:dLbl>
            <c:dLbl>
              <c:idx val="7"/>
              <c:tx>
                <c:rich>
                  <a:bodyPr/>
                  <a:lstStyle/>
                  <a:p>
                    <a:r>
                      <a:t>771.67</a:t>
                    </a:r>
                  </a:p>
                </c:rich>
              </c:tx>
              <c:showLegendKey val="0"/>
              <c:showVal val="1"/>
              <c:showCatName val="0"/>
              <c:showSerName val="0"/>
              <c:showPercent val="0"/>
              <c:showBubbleSize val="0"/>
            </c:dLbl>
            <c:dLbl>
              <c:idx val="8"/>
              <c:tx>
                <c:rich>
                  <a:bodyPr/>
                  <a:lstStyle/>
                  <a:p>
                    <a:r>
                      <a:t>654.72</a:t>
                    </a:r>
                  </a:p>
                </c:rich>
              </c:tx>
              <c:showLegendKey val="0"/>
              <c:showVal val="1"/>
              <c:showCatName val="0"/>
              <c:showSerName val="0"/>
              <c:showPercent val="0"/>
              <c:showBubbleSize val="0"/>
            </c:dLbl>
            <c:dLbl>
              <c:idx val="9"/>
              <c:tx>
                <c:rich>
                  <a:bodyPr/>
                  <a:lstStyle/>
                  <a:p>
                    <a:r>
                      <a:t>270.0</a:t>
                    </a:r>
                  </a:p>
                </c:rich>
              </c:tx>
              <c:showLegendKey val="0"/>
              <c:showVal val="1"/>
              <c:showCatName val="0"/>
              <c:showSerName val="0"/>
              <c:showPercent val="0"/>
              <c:showBubbleSize val="0"/>
            </c:dLbl>
            <c:dLbl>
              <c:idx val="10"/>
              <c:tx>
                <c:rich>
                  <a:bodyPr/>
                  <a:lstStyle/>
                  <a:p>
                    <a:r>
                      <a:t>195.0</a:t>
                    </a:r>
                  </a:p>
                </c:rich>
              </c:tx>
              <c:showLegendKey val="0"/>
              <c:showVal val="1"/>
              <c:showCatName val="0"/>
              <c:showSerName val="0"/>
              <c:showPercent val="0"/>
              <c:showBubbleSize val="0"/>
            </c:dLbl>
            <c:dLbl>
              <c:idx val="11"/>
              <c:tx>
                <c:rich>
                  <a:bodyPr/>
                  <a:lstStyle/>
                  <a:p>
                    <a:r>
                      <a:t>250.0</a:t>
                    </a:r>
                  </a:p>
                </c:rich>
              </c:tx>
              <c:showLegendKey val="0"/>
              <c:showVal val="1"/>
              <c:showCatName val="0"/>
              <c:showSerName val="0"/>
              <c:showPercent val="0"/>
              <c:showBubbleSize val="0"/>
            </c:dLbl>
            <c:dLbl>
              <c:idx val="12"/>
              <c:tx>
                <c:rich>
                  <a:bodyPr/>
                  <a:lstStyle/>
                  <a:p>
                    <a:r>
                      <a:t>150.0</a:t>
                    </a:r>
                  </a:p>
                </c:rich>
              </c:tx>
              <c:showLegendKey val="0"/>
              <c:showVal val="1"/>
              <c:showCatName val="0"/>
              <c:showSerName val="0"/>
              <c:showPercent val="0"/>
              <c:showBubbleSize val="0"/>
            </c:dLbl>
            <c:dLbl>
              <c:idx val="13"/>
              <c:tx>
                <c:rich>
                  <a:bodyPr/>
                  <a:lstStyle/>
                  <a:p>
                    <a:r>
                      <a:t>15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dgewell Banana Boat Banded Pack Banded Pack 2X Sunscreen Multi 50+ 170Ml</c:v>
                </c:pt>
                <c:pt idx="1">
                  <c:v>Edgewell Banana Boat Banded Pack Banded Pack 2X Sunscreen Multi 50+ 236Ml</c:v>
                </c:pt>
                <c:pt idx="2">
                  <c:v>Edgewell Banana Boat Mineral Sunscreen Adults Cosmetics Locion 50 180Ml</c:v>
                </c:pt>
                <c:pt idx="3">
                  <c:v>Edgewell Banana Boat Mineral Sunscreen Kids Cosmetics Locion 50 180Ml</c:v>
                </c:pt>
                <c:pt idx="4">
                  <c:v>Edgewell Banana Boat Mineral Sunscreen Adults Sport Locion 50 180Ml</c:v>
                </c:pt>
                <c:pt idx="5">
                  <c:v>Glaxosmithkline Eclipsol Sunscreen Adults Derma Locion 50+ 60Ml</c:v>
                </c:pt>
                <c:pt idx="6">
                  <c:v>Glaxosmithkline Eclipsol Sunscreen Kids Derma Locion 50+ 60Ml</c:v>
                </c:pt>
                <c:pt idx="7">
                  <c:v>Isdin Isdin Sunscreen Baby Derma Spray Locion 50+ 250Ml</c:v>
                </c:pt>
                <c:pt idx="8">
                  <c:v>Isdin Isdin Sunscreen Adults Derma Locion 50+ 200Ml</c:v>
                </c:pt>
                <c:pt idx="9">
                  <c:v>Sun &amp; Skin Care Research No-Ad Sunscreen Adults Cosmetics Locion 50+ 250Ml</c:v>
                </c:pt>
                <c:pt idx="10">
                  <c:v>Sun &amp; Skin Care Research No-Ad Sunscreen Adults Cosmetics Locion 50+ 89Ml</c:v>
                </c:pt>
                <c:pt idx="11">
                  <c:v>Sun &amp; Skin Care Research No-Ad Sunscreen Adults Cosmetics Locion 60 250Ml</c:v>
                </c:pt>
                <c:pt idx="12">
                  <c:v>Sun &amp; Skin Care Research No-Ad Sunscreen Adults Cosmetics Locion 50 89Ml</c:v>
                </c:pt>
                <c:pt idx="13">
                  <c:v>Sun &amp; Skin Care Research No-Ad Sunscreen Adults Cosmetics Locion 30 - 49 89Ml</c:v>
                </c:pt>
              </c:strCache>
            </c:strRef>
          </c:cat>
          <c:val>
            <c:numRef>
              <c:f>Sheet1!$B$2:$B$15</c:f>
              <c:numCache>
                <c:formatCode>General</c:formatCode>
                <c:ptCount val="14"/>
                <c:pt idx="0">
                  <c:v>326.59</c:v>
                </c:pt>
                <c:pt idx="1">
                  <c:v>268.26</c:v>
                </c:pt>
                <c:pt idx="2">
                  <c:v>317.01</c:v>
                </c:pt>
                <c:pt idx="3">
                  <c:v>316.77</c:v>
                </c:pt>
                <c:pt idx="4">
                  <c:v>318.71</c:v>
                </c:pt>
                <c:pt idx="5">
                  <c:v>284.34</c:v>
                </c:pt>
                <c:pt idx="6">
                  <c:v>282.23</c:v>
                </c:pt>
                <c:pt idx="7">
                  <c:v>771.67</c:v>
                </c:pt>
                <c:pt idx="8">
                  <c:v>654.72</c:v>
                </c:pt>
                <c:pt idx="9">
                  <c:v>270.0</c:v>
                </c:pt>
                <c:pt idx="10">
                  <c:v>195.0</c:v>
                </c:pt>
                <c:pt idx="11">
                  <c:v>250.0</c:v>
                </c:pt>
                <c:pt idx="12">
                  <c:v>150.0</c:v>
                </c:pt>
                <c:pt idx="13">
                  <c:v>15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6.2</a:t>
                    </a:r>
                  </a:p>
                </c:rich>
              </c:tx>
              <c:showLegendKey val="0"/>
              <c:showVal val="1"/>
              <c:showCatName val="0"/>
              <c:showSerName val="0"/>
              <c:showPercent val="0"/>
              <c:showBubbleSize val="0"/>
            </c:dLbl>
            <c:dLbl>
              <c:idx val="1"/>
              <c:tx>
                <c:rich>
                  <a:bodyPr/>
                  <a:lstStyle/>
                  <a:p>
                    <a:r>
                      <a:t>216.8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Kids Sport Sunscreen Kids Cosmetics Roll-On 60+ 75Ml</c:v>
                </c:pt>
                <c:pt idx="1">
                  <c:v>Edgewell Banana Boat Ultra Sunscreen Adults Sport Roll-On 60+ 75Ml</c:v>
                </c:pt>
              </c:strCache>
            </c:strRef>
          </c:cat>
          <c:val>
            <c:numRef>
              <c:f>Sheet1!$B$2:$B$3</c:f>
              <c:numCache>
                <c:formatCode>General</c:formatCode>
                <c:ptCount val="2"/>
                <c:pt idx="0">
                  <c:v>216.2</c:v>
                </c:pt>
                <c:pt idx="1">
                  <c:v>2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409.79</a:t>
                    </a:r>
                  </a:p>
                </c:rich>
              </c:tx>
              <c:showLegendKey val="0"/>
              <c:showVal val="1"/>
              <c:showCatName val="0"/>
              <c:showSerName val="0"/>
              <c:showPercent val="0"/>
              <c:showBubbleSize val="0"/>
            </c:dLbl>
            <c:dLbl>
              <c:idx val="2"/>
              <c:tx>
                <c:rich>
                  <a:bodyPr/>
                  <a:lstStyle/>
                  <a:p>
                    <a:r>
                      <a:t>240.73</a:t>
                    </a:r>
                  </a:p>
                </c:rich>
              </c:tx>
              <c:showLegendKey val="0"/>
              <c:showVal val="1"/>
              <c:showCatName val="0"/>
              <c:showSerName val="0"/>
              <c:showPercent val="0"/>
              <c:showBubbleSize val="0"/>
            </c:dLbl>
            <c:dLbl>
              <c:idx val="3"/>
              <c:tx>
                <c:rich>
                  <a:bodyPr/>
                  <a:lstStyle/>
                  <a:p>
                    <a:r>
                      <a:t>380.54</a:t>
                    </a:r>
                  </a:p>
                </c:rich>
              </c:tx>
              <c:showLegendKey val="0"/>
              <c:showVal val="1"/>
              <c:showCatName val="0"/>
              <c:showSerName val="0"/>
              <c:showPercent val="0"/>
              <c:showBubbleSize val="0"/>
            </c:dLbl>
            <c:dLbl>
              <c:idx val="4"/>
              <c:tx>
                <c:rich>
                  <a:bodyPr/>
                  <a:lstStyle/>
                  <a:p>
                    <a:r>
                      <a:t>743.11</a:t>
                    </a:r>
                  </a:p>
                </c:rich>
              </c:tx>
              <c:showLegendKey val="0"/>
              <c:showVal val="1"/>
              <c:showCatName val="0"/>
              <c:showSerName val="0"/>
              <c:showPercent val="0"/>
              <c:showBubbleSize val="0"/>
            </c:dLbl>
            <c:dLbl>
              <c:idx val="5"/>
              <c:tx>
                <c:rich>
                  <a:bodyPr/>
                  <a:lstStyle/>
                  <a:p>
                    <a:r>
                      <a:t>409.15</a:t>
                    </a:r>
                  </a:p>
                </c:rich>
              </c:tx>
              <c:showLegendKey val="0"/>
              <c:showVal val="1"/>
              <c:showCatName val="0"/>
              <c:showSerName val="0"/>
              <c:showPercent val="0"/>
              <c:showBubbleSize val="0"/>
            </c:dLbl>
            <c:dLbl>
              <c:idx val="6"/>
              <c:tx>
                <c:rich>
                  <a:bodyPr/>
                  <a:lstStyle/>
                  <a:p>
                    <a:r>
                      <a:t>350.46</a:t>
                    </a:r>
                  </a:p>
                </c:rich>
              </c:tx>
              <c:showLegendKey val="0"/>
              <c:showVal val="1"/>
              <c:showCatName val="0"/>
              <c:showSerName val="0"/>
              <c:showPercent val="0"/>
              <c:showBubbleSize val="0"/>
            </c:dLbl>
            <c:dLbl>
              <c:idx val="7"/>
              <c:tx>
                <c:rich>
                  <a:bodyPr/>
                  <a:lstStyle/>
                  <a:p>
                    <a:r>
                      <a:t>303.91</a:t>
                    </a:r>
                  </a:p>
                </c:rich>
              </c:tx>
              <c:showLegendKey val="0"/>
              <c:showVal val="1"/>
              <c:showCatName val="0"/>
              <c:showSerName val="0"/>
              <c:showPercent val="0"/>
              <c:showBubbleSize val="0"/>
            </c:dLbl>
            <c:dLbl>
              <c:idx val="8"/>
              <c:tx>
                <c:rich>
                  <a:bodyPr/>
                  <a:lstStyle/>
                  <a:p>
                    <a:r>
                      <a:t>335.94</a:t>
                    </a:r>
                  </a:p>
                </c:rich>
              </c:tx>
              <c:showLegendKey val="0"/>
              <c:showVal val="1"/>
              <c:showCatName val="0"/>
              <c:showSerName val="0"/>
              <c:showPercent val="0"/>
              <c:showBubbleSize val="0"/>
            </c:dLbl>
            <c:dLbl>
              <c:idx val="9"/>
              <c:tx>
                <c:rich>
                  <a:bodyPr/>
                  <a:lstStyle/>
                  <a:p>
                    <a:r>
                      <a:t>665.5</a:t>
                    </a:r>
                  </a:p>
                </c:rich>
              </c:tx>
              <c:showLegendKey val="0"/>
              <c:showVal val="1"/>
              <c:showCatName val="0"/>
              <c:showSerName val="0"/>
              <c:showPercent val="0"/>
              <c:showBubbleSize val="0"/>
            </c:dLbl>
            <c:dLbl>
              <c:idx val="10"/>
              <c:tx>
                <c:rich>
                  <a:bodyPr/>
                  <a:lstStyle/>
                  <a:p>
                    <a:r>
                      <a:t>398.0</a:t>
                    </a:r>
                  </a:p>
                </c:rich>
              </c:tx>
              <c:showLegendKey val="0"/>
              <c:showVal val="1"/>
              <c:showCatName val="0"/>
              <c:showSerName val="0"/>
              <c:showPercent val="0"/>
              <c:showBubbleSize val="0"/>
            </c:dLbl>
            <c:dLbl>
              <c:idx val="11"/>
              <c:tx>
                <c:rich>
                  <a:bodyPr/>
                  <a:lstStyle/>
                  <a:p>
                    <a:r>
                      <a:t>852.52</a:t>
                    </a:r>
                  </a:p>
                </c:rich>
              </c:tx>
              <c:showLegendKey val="0"/>
              <c:showVal val="1"/>
              <c:showCatName val="0"/>
              <c:showSerName val="0"/>
              <c:showPercent val="0"/>
              <c:showBubbleSize val="0"/>
            </c:dLbl>
            <c:dLbl>
              <c:idx val="12"/>
              <c:tx>
                <c:rich>
                  <a:bodyPr/>
                  <a:lstStyle/>
                  <a:p>
                    <a:r>
                      <a:t>357.0</a:t>
                    </a:r>
                  </a:p>
                </c:rich>
              </c:tx>
              <c:showLegendKey val="0"/>
              <c:showVal val="1"/>
              <c:showCatName val="0"/>
              <c:showSerName val="0"/>
              <c:showPercent val="0"/>
              <c:showBubbleSize val="0"/>
            </c:dLbl>
            <c:dLbl>
              <c:idx val="13"/>
              <c:tx>
                <c:rich>
                  <a:bodyPr/>
                  <a:lstStyle/>
                  <a:p>
                    <a:r>
                      <a:t>310.0</a:t>
                    </a:r>
                  </a:p>
                </c:rich>
              </c:tx>
              <c:showLegendKey val="0"/>
              <c:showVal val="1"/>
              <c:showCatName val="0"/>
              <c:showSerName val="0"/>
              <c:showPercent val="0"/>
              <c:showBubbleSize val="0"/>
            </c:dLbl>
            <c:dLbl>
              <c:idx val="14"/>
              <c:tx>
                <c:rich>
                  <a:bodyPr/>
                  <a:lstStyle/>
                  <a:p>
                    <a:r>
                      <a:t>310.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dvanced Protection Sunscreen Adults Cosmetics Spray 50+ 170Ml</c:v>
                </c:pt>
                <c:pt idx="1">
                  <c:v>Edgewell Banana Boat Dry Balance Sunscreen Adults Sport Spray 50+ 170Ml</c:v>
                </c:pt>
                <c:pt idx="2">
                  <c:v>Edgewell Banana Boat Dry Balance Sunscreen Adults Cosmetics Spray 50+ 340Ml</c:v>
                </c:pt>
                <c:pt idx="3">
                  <c:v>Australian Gold Australian Gold Sunscreen Adults Cosmetics Spray 30 - 49 170Ml</c:v>
                </c:pt>
                <c:pt idx="4">
                  <c:v>Bioderma Photoderm Sunscreen Adults Derma Spray 50+ 300Ml</c:v>
                </c:pt>
                <c:pt idx="5">
                  <c:v>Australian Gold Australian Gold Sunscreen Adults Sport Spray 50 170Ml</c:v>
                </c:pt>
                <c:pt idx="6">
                  <c:v>Australian Gold Australian Gold Sunscreen Adults Cosmetics Spray 15 - 19 170Ml</c:v>
                </c:pt>
                <c:pt idx="7">
                  <c:v>Sun &amp; Skin Care Research Ocean Potion Sunscreen Adults Cosmetics Spray 30 - 49 156Ml</c:v>
                </c:pt>
                <c:pt idx="8">
                  <c:v>Sun &amp; Skin Care Research Ocean Potion Sunscreen Adults Sport Spray 50 156Ml</c:v>
                </c:pt>
                <c:pt idx="9">
                  <c:v>Bioderma Photoderm Sunscreen Adults Derma Spray 50+ 150Ml</c:v>
                </c:pt>
                <c:pt idx="10">
                  <c:v>Sun &amp; Skin Care Research Ocean Potion Sunscreen Adults Cosmetics Spray 50+ 156Ml</c:v>
                </c:pt>
                <c:pt idx="11">
                  <c:v>Bioderma Photoderm Sunscreen Kids Derma Spray 50+ 200Ml</c:v>
                </c:pt>
                <c:pt idx="12">
                  <c:v>Australian Gold Australian Gold Sunscreen Kids Cosmetics Spray 50 170Ml</c:v>
                </c:pt>
                <c:pt idx="13">
                  <c:v>Sun &amp; Skin Care Research Ocean Potion Sunscreen Adults Cosmetics Spray 50 156Ml</c:v>
                </c:pt>
                <c:pt idx="14">
                  <c:v>Sun &amp; Skin Care Research Ocean Potion Sunscreen Kids Cosmetics Spray 50 156Ml</c:v>
                </c:pt>
              </c:strCache>
            </c:strRef>
          </c:cat>
          <c:val>
            <c:numRef>
              <c:f>Sheet1!$B$2:$B$16</c:f>
              <c:numCache>
                <c:formatCode>General</c:formatCode>
                <c:ptCount val="15"/>
                <c:pt idx="0">
                  <c:v>310.0</c:v>
                </c:pt>
                <c:pt idx="1">
                  <c:v>409.79</c:v>
                </c:pt>
                <c:pt idx="2">
                  <c:v>240.73</c:v>
                </c:pt>
                <c:pt idx="3">
                  <c:v>380.54</c:v>
                </c:pt>
                <c:pt idx="4">
                  <c:v>743.11</c:v>
                </c:pt>
                <c:pt idx="5">
                  <c:v>409.15</c:v>
                </c:pt>
                <c:pt idx="6">
                  <c:v>350.46</c:v>
                </c:pt>
                <c:pt idx="7">
                  <c:v>303.91</c:v>
                </c:pt>
                <c:pt idx="8">
                  <c:v>335.94</c:v>
                </c:pt>
                <c:pt idx="9">
                  <c:v>665.5</c:v>
                </c:pt>
                <c:pt idx="10">
                  <c:v>398.0</c:v>
                </c:pt>
                <c:pt idx="11">
                  <c:v>852.52</c:v>
                </c:pt>
                <c:pt idx="12">
                  <c:v>357.0</c:v>
                </c:pt>
                <c:pt idx="13">
                  <c:v>310.0</c:v>
                </c:pt>
                <c:pt idx="14">
                  <c:v>3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94.75</a:t>
                    </a:r>
                  </a:p>
                </c:rich>
              </c:tx>
              <c:dLblPos val="t"/>
              <c:showLegendKey val="0"/>
              <c:showVal val="1"/>
              <c:showCatName val="0"/>
              <c:showSerName val="0"/>
              <c:showPercent val="0"/>
              <c:showBubbleSize val="0"/>
            </c:dLbl>
            <c:dLbl>
              <c:idx val="2"/>
              <c:tx>
                <c:rich>
                  <a:bodyPr/>
                  <a:lstStyle/>
                  <a:p>
                    <a:r>
                      <a:t>285.74</a:t>
                    </a:r>
                  </a:p>
                </c:rich>
              </c:tx>
              <c:dLblPos val="t"/>
              <c:showLegendKey val="0"/>
              <c:showVal val="1"/>
              <c:showCatName val="0"/>
              <c:showSerName val="0"/>
              <c:showPercent val="0"/>
              <c:showBubbleSize val="0"/>
            </c:dLbl>
            <c:dLbl>
              <c:idx val="3"/>
              <c:tx>
                <c:rich>
                  <a:bodyPr/>
                  <a:lstStyle/>
                  <a:p>
                    <a:r>
                      <a:t>104.26</a:t>
                    </a:r>
                  </a:p>
                </c:rich>
              </c:tx>
              <c:dLblPos val="t"/>
              <c:showLegendKey val="0"/>
              <c:showVal val="1"/>
              <c:showCatName val="0"/>
              <c:showSerName val="0"/>
              <c:showPercent val="0"/>
              <c:showBubbleSize val="0"/>
            </c:dLbl>
            <c:dLbl>
              <c:idx val="4"/>
              <c:tx>
                <c:rich>
                  <a:bodyPr/>
                  <a:lstStyle/>
                  <a:p>
                    <a:r>
                      <a:t>185.41</a:t>
                    </a:r>
                  </a:p>
                </c:rich>
              </c:tx>
              <c:dLblPos val="t"/>
              <c:showLegendKey val="0"/>
              <c:showVal val="1"/>
              <c:showCatName val="0"/>
              <c:showSerName val="0"/>
              <c:showPercent val="0"/>
              <c:showBubbleSize val="0"/>
            </c:dLbl>
            <c:dLbl>
              <c:idx val="5"/>
              <c:tx>
                <c:rich>
                  <a:bodyPr/>
                  <a:lstStyle/>
                  <a:p>
                    <a:r>
                      <a:t>309.91</a:t>
                    </a:r>
                  </a:p>
                </c:rich>
              </c:tx>
              <c:dLblPos val="t"/>
              <c:showLegendKey val="0"/>
              <c:showVal val="1"/>
              <c:showCatName val="0"/>
              <c:showSerName val="0"/>
              <c:showPercent val="0"/>
              <c:showBubbleSize val="0"/>
            </c:dLbl>
            <c:dLbl>
              <c:idx val="6"/>
              <c:tx>
                <c:rich>
                  <a:bodyPr/>
                  <a:lstStyle/>
                  <a:p>
                    <a:r>
                      <a:t>281.66</a:t>
                    </a:r>
                  </a:p>
                </c:rich>
              </c:tx>
              <c:dLblPos val="t"/>
              <c:showLegendKey val="0"/>
              <c:showVal val="1"/>
              <c:showCatName val="0"/>
              <c:showSerName val="0"/>
              <c:showPercent val="0"/>
              <c:showBubbleSize val="0"/>
            </c:dLbl>
            <c:dLbl>
              <c:idx val="7"/>
              <c:tx>
                <c:rich>
                  <a:bodyPr/>
                  <a:lstStyle/>
                  <a:p>
                    <a:r>
                      <a:t>293.24</a:t>
                    </a:r>
                  </a:p>
                </c:rich>
              </c:tx>
              <c:dLblPos val="t"/>
              <c:showLegendKey val="0"/>
              <c:showVal val="1"/>
              <c:showCatName val="0"/>
              <c:showSerName val="0"/>
              <c:showPercent val="0"/>
              <c:showBubbleSize val="0"/>
            </c:dLbl>
            <c:dLbl>
              <c:idx val="8"/>
              <c:tx>
                <c:rich>
                  <a:bodyPr/>
                  <a:lstStyle/>
                  <a:p>
                    <a:r>
                      <a:t>314.89</a:t>
                    </a:r>
                  </a:p>
                </c:rich>
              </c:tx>
              <c:dLblPos val="t"/>
              <c:showLegendKey val="0"/>
              <c:showVal val="1"/>
              <c:showCatName val="0"/>
              <c:showSerName val="0"/>
              <c:showPercent val="0"/>
              <c:showBubbleSize val="0"/>
            </c:dLbl>
            <c:dLbl>
              <c:idx val="9"/>
              <c:tx>
                <c:rich>
                  <a:bodyPr/>
                  <a:lstStyle/>
                  <a:p>
                    <a:r>
                      <a:t>94.65</a:t>
                    </a:r>
                  </a:p>
                </c:rich>
              </c:tx>
              <c:dLblPos val="t"/>
              <c:showLegendKey val="0"/>
              <c:showVal val="1"/>
              <c:showCatName val="0"/>
              <c:showSerName val="0"/>
              <c:showPercent val="0"/>
              <c:showBubbleSize val="0"/>
            </c:dLbl>
            <c:dLbl>
              <c:idx val="10"/>
              <c:tx>
                <c:rich>
                  <a:bodyPr/>
                  <a:lstStyle/>
                  <a:p>
                    <a:r>
                      <a:t>190.67</a:t>
                    </a:r>
                  </a:p>
                </c:rich>
              </c:tx>
              <c:dLblPos val="t"/>
              <c:showLegendKey val="0"/>
              <c:showVal val="1"/>
              <c:showCatName val="0"/>
              <c:showSerName val="0"/>
              <c:showPercent val="0"/>
              <c:showBubbleSize val="0"/>
            </c:dLbl>
            <c:dLbl>
              <c:idx val="11"/>
              <c:tx>
                <c:rich>
                  <a:bodyPr/>
                  <a:lstStyle/>
                  <a:p>
                    <a:r>
                      <a:t>317.75</a:t>
                    </a:r>
                  </a:p>
                </c:rich>
              </c:tx>
              <c:dLblPos val="t"/>
              <c:showLegendKey val="0"/>
              <c:showVal val="1"/>
              <c:showCatName val="0"/>
              <c:showSerName val="0"/>
              <c:showPercent val="0"/>
              <c:showBubbleSize val="0"/>
            </c:dLbl>
            <c:dLbl>
              <c:idx val="12"/>
              <c:tx>
                <c:rich>
                  <a:bodyPr/>
                  <a:lstStyle/>
                  <a:p>
                    <a:r>
                      <a:t>300.09</a:t>
                    </a:r>
                  </a:p>
                </c:rich>
              </c:tx>
              <c:dLblPos val="t"/>
              <c:showLegendKey val="0"/>
              <c:showVal val="1"/>
              <c:showCatName val="0"/>
              <c:showSerName val="0"/>
              <c:showPercent val="0"/>
              <c:showBubbleSize val="0"/>
            </c:dLbl>
            <c:dLbl>
              <c:idx val="13"/>
              <c:tx>
                <c:rich>
                  <a:bodyPr/>
                  <a:lstStyle/>
                  <a:p>
                    <a:r>
                      <a:t>290.05</a:t>
                    </a:r>
                  </a:p>
                </c:rich>
              </c:tx>
              <c:dLblPos val="t"/>
              <c:showLegendKey val="0"/>
              <c:showVal val="1"/>
              <c:showCatName val="0"/>
              <c:showSerName val="0"/>
              <c:showPercent val="0"/>
              <c:showBubbleSize val="0"/>
            </c:dLbl>
            <c:dLbl>
              <c:idx val="14"/>
              <c:tx>
                <c:rich>
                  <a:bodyPr/>
                  <a:lstStyle/>
                  <a:p>
                    <a:r>
                      <a:t>172.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Ozono Sunscreen Adults Cosmetics Liquido 50+ 90Ml</c:v>
                </c:pt>
                <c:pt idx="4">
                  <c:v>Edgewell Hawaiian Tropic Sheer Touch Sunscreen Adults Cosmetics Crema 50 120Ml</c:v>
                </c:pt>
                <c:pt idx="5">
                  <c:v>Edgewell Hawaiian Tropic Ozono Sunscreen Adults Cosmetics Spray Liquido 50+ 180Ml</c:v>
                </c:pt>
                <c:pt idx="6">
                  <c:v>Edgewell Hawaiian Tropic Sheer Touch Sunscreen Adults Cosmetics Crema 30 - 49 240Ml</c:v>
                </c:pt>
                <c:pt idx="7">
                  <c:v>Edgewell Hawaiian Tropic Silk Hydration Sunscreen Adults Cosmetics Liquido 50 180Ml</c:v>
                </c:pt>
                <c:pt idx="8">
                  <c:v>Edgewell Hawaiian Tropic Island Sport Sunscreen Adults Sport Spray Liquido 50 220Ml</c:v>
                </c:pt>
                <c:pt idx="9">
                  <c:v>Edgewell Hawaiian Tropic Island Sport Sunscreen Adults Sport Liquido 50 60Ml</c:v>
                </c:pt>
                <c:pt idx="10">
                  <c:v>Edgewell Hawaiian Tropic Ozono Sunscreen Adults Cosmetics Liquido 50+ 120Ml</c:v>
                </c:pt>
                <c:pt idx="11">
                  <c:v>Edgewell Hawaiian Tropic Silk Hydration Sunscreen Adults Cosmetics Spray Liquido 50+ 18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285.73</c:v>
                </c:pt>
                <c:pt idx="1">
                  <c:v>294.75</c:v>
                </c:pt>
                <c:pt idx="2">
                  <c:v>285.74</c:v>
                </c:pt>
                <c:pt idx="3">
                  <c:v>104.26</c:v>
                </c:pt>
                <c:pt idx="4">
                  <c:v>185.41</c:v>
                </c:pt>
                <c:pt idx="5">
                  <c:v>309.91</c:v>
                </c:pt>
                <c:pt idx="6">
                  <c:v>281.66</c:v>
                </c:pt>
                <c:pt idx="7">
                  <c:v>293.24</c:v>
                </c:pt>
                <c:pt idx="8">
                  <c:v>314.89</c:v>
                </c:pt>
                <c:pt idx="9">
                  <c:v>94.65</c:v>
                </c:pt>
                <c:pt idx="10">
                  <c:v>190.67</c:v>
                </c:pt>
                <c:pt idx="11">
                  <c:v>317.75</c:v>
                </c:pt>
                <c:pt idx="12">
                  <c:v>300.09</c:v>
                </c:pt>
                <c:pt idx="13">
                  <c:v>290.05</c:v>
                </c:pt>
                <c:pt idx="14">
                  <c:v>172.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B$2:$B$10</c:f>
              <c:numCache>
                <c:formatCode>General</c:formatCode>
                <c:ptCount val="9"/>
                <c:pt idx="0">
                  <c:v>263.2381</c:v>
                </c:pt>
                <c:pt idx="2">
                  <c:v>197.24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D$2:$D$10</c:f>
              <c:numCache>
                <c:formatCode>General</c:formatCode>
                <c:ptCount val="9"/>
                <c:pt idx="4">
                  <c:v>475.4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E$2:$E$10</c:f>
              <c:numCache>
                <c:formatCode>General</c:formatCode>
                <c:ptCount val="9"/>
                <c:pt idx="1">
                  <c:v>139.98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F$2:$F$10</c:f>
              <c:numCache>
                <c:formatCode>General</c:formatCode>
                <c:ptCount val="9"/>
                <c:pt idx="0">
                  <c:v>182.4925</c:v>
                </c:pt>
                <c:pt idx="1">
                  <c:v>208.25</c:v>
                </c:pt>
                <c:pt idx="8">
                  <c:v>474.93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G$2:$G$10</c:f>
              <c:numCache>
                <c:formatCode>General</c:formatCode>
                <c:ptCount val="9"/>
                <c:pt idx="3">
                  <c:v>174.5499</c:v>
                </c:pt>
                <c:pt idx="8">
                  <c:v>143.35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H$2:$H$10</c:f>
              <c:numCache>
                <c:formatCode>General</c:formatCode>
                <c:ptCount val="9"/>
                <c:pt idx="0">
                  <c:v>249.4224</c:v>
                </c:pt>
                <c:pt idx="3">
                  <c:v>271.4532</c:v>
                </c:pt>
                <c:pt idx="7">
                  <c:v>694.53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I$2:$I$10</c:f>
              <c:numCache>
                <c:formatCode>General</c:formatCode>
                <c:ptCount val="9"/>
                <c:pt idx="1">
                  <c:v>276.275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J$2:$J$10</c:f>
              <c:numCache>
                <c:formatCode>General</c:formatCode>
                <c:ptCount val="9"/>
                <c:pt idx="0">
                  <c:v>243.7221</c:v>
                </c:pt>
                <c:pt idx="1">
                  <c:v>275.0</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K$2:$K$10</c:f>
              <c:numCache>
                <c:formatCode>General</c:formatCode>
                <c:ptCount val="9"/>
                <c:pt idx="1">
                  <c:v>160.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L$2:$L$10</c:f>
              <c:numCache>
                <c:formatCode>General</c:formatCode>
                <c:ptCount val="9"/>
                <c:pt idx="0">
                  <c:v>266.1311</c:v>
                </c:pt>
                <c:pt idx="1">
                  <c:v>261.0556</c:v>
                </c:pt>
                <c:pt idx="2">
                  <c:v>522.289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M$2:$M$10</c:f>
              <c:numCache>
                <c:formatCode>General</c:formatCode>
                <c:ptCount val="9"/>
                <c:pt idx="0">
                  <c:v>154.4267</c:v>
                </c:pt>
                <c:pt idx="3">
                  <c:v>270.1175</c:v>
                </c:pt>
                <c:pt idx="4">
                  <c:v>628.532</c:v>
                </c:pt>
                <c:pt idx="6">
                  <c:v>721.5475</c:v>
                </c:pt>
                <c:pt idx="7">
                  <c:v>717.8433</c:v>
                </c:pt>
                <c:pt idx="8">
                  <c:v>156.852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2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N$2:$N$10</c:f>
              <c:numCache>
                <c:formatCode>General</c:formatCode>
                <c:ptCount val="9"/>
                <c:pt idx="0">
                  <c:v>277.8749</c:v>
                </c:pt>
                <c:pt idx="1">
                  <c:v>273.748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O$2:$O$10</c:f>
              <c:numCache>
                <c:formatCode>General</c:formatCode>
                <c:ptCount val="9"/>
                <c:pt idx="1">
                  <c:v>138.114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P$2:$P$10</c:f>
              <c:numCache>
                <c:formatCode>General</c:formatCode>
                <c:ptCount val="9"/>
                <c:pt idx="1">
                  <c:v>246.509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Q$2:$Q$10</c:f>
              <c:numCache>
                <c:formatCode>General</c:formatCode>
                <c:ptCount val="9"/>
                <c:pt idx="1">
                  <c:v>235.379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R$2:$R$10</c:f>
              <c:numCache>
                <c:formatCode>General</c:formatCode>
                <c:ptCount val="9"/>
                <c:pt idx="0">
                  <c:v>256.2393</c:v>
                </c:pt>
                <c:pt idx="1">
                  <c:v>239.532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S$2:$S$10</c:f>
              <c:numCache>
                <c:formatCode>General</c:formatCode>
                <c:ptCount val="9"/>
                <c:pt idx="4">
                  <c:v>631.390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T$2:$T$10</c:f>
              <c:numCache>
                <c:formatCode>General</c:formatCode>
                <c:ptCount val="9"/>
                <c:pt idx="0">
                  <c:v>323.6008</c:v>
                </c:pt>
                <c:pt idx="1">
                  <c:v>311.8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U$2:$U$10</c:f>
              <c:numCache>
                <c:formatCode>General</c:formatCode>
                <c:ptCount val="9"/>
                <c:pt idx="0">
                  <c:v>38.1935</c:v>
                </c:pt>
                <c:pt idx="1">
                  <c:v>38.3008</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V$2:$V$10</c:f>
              <c:numCache>
                <c:formatCode>General</c:formatCode>
                <c:ptCount val="9"/>
                <c:pt idx="1">
                  <c:v>302.7465</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W$2:$W$10</c:f>
              <c:numCache>
                <c:formatCode>General</c:formatCode>
                <c:ptCount val="9"/>
                <c:pt idx="1">
                  <c:v>228.0415</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X$2:$X$10</c:f>
              <c:numCache>
                <c:formatCode>General</c:formatCode>
                <c:ptCount val="9"/>
                <c:pt idx="0">
                  <c:v>105.0</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Y$2:$Y$10</c:f>
              <c:numCache>
                <c:formatCode>General</c:formatCode>
                <c:ptCount val="9"/>
                <c:pt idx="3">
                  <c:v>263.0861</c:v>
                </c:pt>
                <c:pt idx="8">
                  <c:v>522.3862</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Z$2:$Z$10</c:f>
              <c:numCache>
                <c:formatCode>General</c:formatCode>
                <c:ptCount val="9"/>
                <c:pt idx="0">
                  <c:v>358.0</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A$2:$AA$10</c:f>
              <c:numCache>
                <c:formatCode>General</c:formatCode>
                <c:ptCount val="9"/>
                <c:pt idx="1">
                  <c:v>146.1491</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B$2:$AB$10</c:f>
              <c:numCache>
                <c:formatCode>General</c:formatCode>
                <c:ptCount val="9"/>
                <c:pt idx="1">
                  <c:v>151.5302</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C$2:$AC$10</c:f>
              <c:numCache>
                <c:formatCode>General</c:formatCode>
                <c:ptCount val="9"/>
                <c:pt idx="0">
                  <c:v>231.5438</c:v>
                </c:pt>
                <c:pt idx="1">
                  <c:v>270.2126</c:v>
                </c:pt>
                <c:pt idx="2">
                  <c:v>208.5341</c:v>
                </c:pt>
                <c:pt idx="3">
                  <c:v>248.5054</c:v>
                </c:pt>
                <c:pt idx="4">
                  <c:v>622.7653</c:v>
                </c:pt>
                <c:pt idx="5">
                  <c:v>616.1585</c:v>
                </c:pt>
                <c:pt idx="6">
                  <c:v>645.5026</c:v>
                </c:pt>
                <c:pt idx="7">
                  <c:v>663.6736</c:v>
                </c:pt>
                <c:pt idx="8">
                  <c:v>526.5017</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D$2:$AD$10</c:f>
              <c:numCache>
                <c:formatCode>General</c:formatCode>
                <c:ptCount val="9"/>
                <c:pt idx="0">
                  <c:v>91.6395</c:v>
                </c:pt>
                <c:pt idx="1">
                  <c:v>84.8929</c:v>
                </c:pt>
                <c:pt idx="8">
                  <c:v>159.3224</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E$2:$AE$10</c:f>
              <c:numCache>
                <c:formatCode>General</c:formatCode>
                <c:ptCount val="9"/>
                <c:pt idx="1">
                  <c:v>206.1407</c:v>
                </c:pt>
                <c:pt idx="5">
                  <c:v>519.7577</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F$2:$AF$10</c:f>
              <c:numCache>
                <c:formatCode>General</c:formatCode>
                <c:ptCount val="9"/>
                <c:pt idx="0">
                  <c:v>97.114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B$2:$B$10</c:f>
              <c:numCache>
                <c:formatCode>General</c:formatCode>
                <c:ptCount val="9"/>
                <c:pt idx="0">
                  <c:v>267.6563</c:v>
                </c:pt>
                <c:pt idx="2">
                  <c:v>199.45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D$2:$D$10</c:f>
              <c:numCache>
                <c:formatCode>General</c:formatCode>
                <c:ptCount val="9"/>
                <c:pt idx="4">
                  <c:v>480.52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E$2:$E$10</c:f>
              <c:numCache>
                <c:formatCode>General</c:formatCode>
                <c:ptCount val="9"/>
                <c:pt idx="1">
                  <c:v>140.18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F$2:$F$10</c:f>
              <c:numCache>
                <c:formatCode>General</c:formatCode>
                <c:ptCount val="9"/>
                <c:pt idx="0">
                  <c:v>182.7601</c:v>
                </c:pt>
                <c:pt idx="1">
                  <c:v>208.25</c:v>
                </c:pt>
                <c:pt idx="8">
                  <c:v>469.462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G$2:$G$10</c:f>
              <c:numCache>
                <c:formatCode>General</c:formatCode>
                <c:ptCount val="9"/>
                <c:pt idx="3">
                  <c:v>173.0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H$2:$H$10</c:f>
              <c:numCache>
                <c:formatCode>General</c:formatCode>
                <c:ptCount val="9"/>
                <c:pt idx="0">
                  <c:v>252.9382</c:v>
                </c:pt>
                <c:pt idx="3">
                  <c:v>270.2085</c:v>
                </c:pt>
                <c:pt idx="7">
                  <c:v>701.25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I$2:$I$10</c:f>
              <c:numCache>
                <c:formatCode>General</c:formatCode>
                <c:ptCount val="9"/>
                <c:pt idx="1">
                  <c:v>280.53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J$2:$J$10</c:f>
              <c:numCache>
                <c:formatCode>General</c:formatCode>
                <c:ptCount val="9"/>
                <c:pt idx="0">
                  <c:v>246.5634</c:v>
                </c:pt>
                <c:pt idx="1">
                  <c:v>275.0</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K$2:$K$10</c:f>
              <c:numCache>
                <c:formatCode>General</c:formatCode>
                <c:ptCount val="9"/>
                <c:pt idx="1">
                  <c:v>160.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L$2:$L$10</c:f>
              <c:numCache>
                <c:formatCode>General</c:formatCode>
                <c:ptCount val="9"/>
                <c:pt idx="0">
                  <c:v>272.1646</c:v>
                </c:pt>
                <c:pt idx="1">
                  <c:v>264.3496</c:v>
                </c:pt>
                <c:pt idx="2">
                  <c:v>551.166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M$2:$M$10</c:f>
              <c:numCache>
                <c:formatCode>General</c:formatCode>
                <c:ptCount val="9"/>
                <c:pt idx="0">
                  <c:v>160.1668</c:v>
                </c:pt>
                <c:pt idx="3">
                  <c:v>271.2173</c:v>
                </c:pt>
                <c:pt idx="4">
                  <c:v>635.3463</c:v>
                </c:pt>
                <c:pt idx="6">
                  <c:v>733.907</c:v>
                </c:pt>
                <c:pt idx="7">
                  <c:v>738.944</c:v>
                </c:pt>
                <c:pt idx="8">
                  <c:v>158.211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2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N$2:$N$10</c:f>
              <c:numCache>
                <c:formatCode>General</c:formatCode>
                <c:ptCount val="9"/>
                <c:pt idx="0">
                  <c:v>284.361</c:v>
                </c:pt>
                <c:pt idx="1">
                  <c:v>274.953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O$2:$O$10</c:f>
              <c:numCache>
                <c:formatCode>General</c:formatCode>
                <c:ptCount val="9"/>
                <c:pt idx="1">
                  <c:v>138.337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P$2:$P$10</c:f>
              <c:numCache>
                <c:formatCode>General</c:formatCode>
                <c:ptCount val="9"/>
                <c:pt idx="1">
                  <c:v>249.640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Q$2:$Q$10</c:f>
              <c:numCache>
                <c:formatCode>General</c:formatCode>
                <c:ptCount val="9"/>
                <c:pt idx="1">
                  <c:v>237.527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R$2:$R$10</c:f>
              <c:numCache>
                <c:formatCode>General</c:formatCode>
                <c:ptCount val="9"/>
                <c:pt idx="0">
                  <c:v>258.055</c:v>
                </c:pt>
                <c:pt idx="1">
                  <c:v>243.669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S$2:$S$10</c:f>
              <c:numCache>
                <c:formatCode>General</c:formatCode>
                <c:ptCount val="9"/>
                <c:pt idx="4">
                  <c:v>636.317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T$2:$T$10</c:f>
              <c:numCache>
                <c:formatCode>General</c:formatCode>
                <c:ptCount val="9"/>
                <c:pt idx="0">
                  <c:v>332.9611</c:v>
                </c:pt>
                <c:pt idx="1">
                  <c:v>330.003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U$2:$U$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V$2:$V$10</c:f>
              <c:numCache>
                <c:formatCode>General</c:formatCode>
                <c:ptCount val="9"/>
                <c:pt idx="1">
                  <c:v>305.067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W$2:$W$10</c:f>
              <c:numCache>
                <c:formatCode>General</c:formatCode>
                <c:ptCount val="9"/>
                <c:pt idx="1">
                  <c:v>350.7214</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X$2:$X$10</c:f>
              <c:numCache>
                <c:formatCode>General</c:formatCode>
                <c:ptCount val="9"/>
                <c:pt idx="0">
                  <c:v>105.0</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Y$2:$Y$10</c:f>
              <c:numCache>
                <c:formatCode>General</c:formatCode>
                <c:ptCount val="9"/>
                <c:pt idx="3">
                  <c:v>262.6641</c:v>
                </c:pt>
                <c:pt idx="7">
                  <c:v>774.5679</c:v>
                </c:pt>
                <c:pt idx="8">
                  <c:v>529.596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Z$2:$Z$10</c:f>
              <c:numCache>
                <c:formatCode>General</c:formatCode>
                <c:ptCount val="9"/>
                <c:pt idx="0">
                  <c:v>358.0</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A$2:$AA$10</c:f>
              <c:numCache>
                <c:formatCode>General</c:formatCode>
                <c:ptCount val="9"/>
                <c:pt idx="1">
                  <c:v>146.7274</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B$2:$AB$10</c:f>
              <c:numCache>
                <c:formatCode>General</c:formatCode>
                <c:ptCount val="9"/>
                <c:pt idx="1">
                  <c:v>151.9901</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C$2:$AC$10</c:f>
              <c:numCache>
                <c:formatCode>General</c:formatCode>
                <c:ptCount val="9"/>
                <c:pt idx="0">
                  <c:v>234.5103</c:v>
                </c:pt>
                <c:pt idx="1">
                  <c:v>272.3561</c:v>
                </c:pt>
                <c:pt idx="2">
                  <c:v>208.892</c:v>
                </c:pt>
                <c:pt idx="3">
                  <c:v>247.4402</c:v>
                </c:pt>
                <c:pt idx="4">
                  <c:v>620.6019</c:v>
                </c:pt>
                <c:pt idx="5">
                  <c:v>624.3638</c:v>
                </c:pt>
                <c:pt idx="6">
                  <c:v>654.5598</c:v>
                </c:pt>
                <c:pt idx="7">
                  <c:v>675.124</c:v>
                </c:pt>
                <c:pt idx="8">
                  <c:v>702.5327</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D$2:$AD$10</c:f>
              <c:numCache>
                <c:formatCode>General</c:formatCode>
                <c:ptCount val="9"/>
                <c:pt idx="0">
                  <c:v>92.5038</c:v>
                </c:pt>
                <c:pt idx="1">
                  <c:v>84.7342</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E$2:$AE$10</c:f>
              <c:numCache>
                <c:formatCode>General</c:formatCode>
                <c:ptCount val="9"/>
                <c:pt idx="1">
                  <c:v>207.7195</c:v>
                </c:pt>
                <c:pt idx="5">
                  <c:v>527.995</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AF$2:$AF$10</c:f>
              <c:numCache>
                <c:formatCode>General</c:formatCode>
                <c:ptCount val="9"/>
                <c:pt idx="0">
                  <c:v>97.155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B$2:$B$10</c:f>
              <c:numCache>
                <c:formatCode>General</c:formatCode>
                <c:ptCount val="9"/>
                <c:pt idx="0">
                  <c:v>364.9119</c:v>
                </c:pt>
                <c:pt idx="2">
                  <c:v>39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D$2:$D$10</c:f>
              <c:numCache>
                <c:formatCode>General</c:formatCode>
                <c:ptCount val="9"/>
                <c:pt idx="3">
                  <c:v>489.36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E$2:$E$10</c:f>
              <c:numCache>
                <c:formatCode>General</c:formatCode>
                <c:ptCount val="9"/>
                <c:pt idx="1">
                  <c:v>361.22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F$2:$F$10</c:f>
              <c:numCache>
                <c:formatCode>General</c:formatCode>
                <c:ptCount val="9"/>
                <c:pt idx="0">
                  <c:v>182.863</c:v>
                </c:pt>
                <c:pt idx="1">
                  <c:v>208.25</c:v>
                </c:pt>
                <c:pt idx="8">
                  <c:v>639.50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G$2:$G$10</c:f>
              <c:numCache>
                <c:formatCode>General</c:formatCode>
                <c:ptCount val="9"/>
                <c:pt idx="7">
                  <c:v>170.668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H$2:$H$10</c:f>
              <c:numCache>
                <c:formatCode>General</c:formatCode>
                <c:ptCount val="9"/>
                <c:pt idx="0">
                  <c:v>263.8422</c:v>
                </c:pt>
                <c:pt idx="6">
                  <c:v>725.081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I$2:$I$10</c:f>
              <c:numCache>
                <c:formatCode>General</c:formatCode>
                <c:ptCount val="9"/>
                <c:pt idx="1">
                  <c:v>322.296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J$2:$J$10</c:f>
              <c:numCache>
                <c:formatCode>General</c:formatCode>
                <c:ptCount val="9"/>
                <c:pt idx="0">
                  <c:v>247.3772</c:v>
                </c:pt>
                <c:pt idx="1">
                  <c:v>275.0</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K$2:$K$10</c:f>
              <c:numCache>
                <c:formatCode>General</c:formatCode>
                <c:ptCount val="9"/>
                <c:pt idx="1">
                  <c:v>160.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L$2:$L$10</c:f>
              <c:numCache>
                <c:formatCode>General</c:formatCode>
                <c:ptCount val="9"/>
                <c:pt idx="0">
                  <c:v>291.0044</c:v>
                </c:pt>
                <c:pt idx="1">
                  <c:v>312.3822</c:v>
                </c:pt>
                <c:pt idx="2">
                  <c:v>551.166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M$2:$M$10</c:f>
              <c:numCache>
                <c:formatCode>General</c:formatCode>
                <c:ptCount val="9"/>
                <c:pt idx="0">
                  <c:v>245.625</c:v>
                </c:pt>
                <c:pt idx="3">
                  <c:v>650.6767</c:v>
                </c:pt>
                <c:pt idx="5">
                  <c:v>756.3559</c:v>
                </c:pt>
                <c:pt idx="6">
                  <c:v>768.6692</c:v>
                </c:pt>
                <c:pt idx="7">
                  <c:v>335.5958</c:v>
                </c:pt>
                <c:pt idx="8">
                  <c:v>256.294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2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N$2:$N$10</c:f>
              <c:numCache>
                <c:formatCode>General</c:formatCode>
                <c:ptCount val="9"/>
                <c:pt idx="0">
                  <c:v>303.9672</c:v>
                </c:pt>
                <c:pt idx="1">
                  <c:v>297.132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O$2:$O$10</c:f>
              <c:numCache>
                <c:formatCode>General</c:formatCode>
                <c:ptCount val="9"/>
                <c:pt idx="1">
                  <c:v>143.013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P$2:$P$10</c:f>
              <c:numCache>
                <c:formatCode>General</c:formatCode>
                <c:ptCount val="9"/>
                <c:pt idx="1">
                  <c:v>287.88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Q$2:$Q$10</c:f>
              <c:numCache>
                <c:formatCode>General</c:formatCode>
                <c:ptCount val="9"/>
                <c:pt idx="1">
                  <c:v>288.69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R$2:$R$10</c:f>
              <c:numCache>
                <c:formatCode>General</c:formatCode>
                <c:ptCount val="9"/>
                <c:pt idx="0">
                  <c:v>278.6113</c:v>
                </c:pt>
                <c:pt idx="1">
                  <c:v>279.21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S$2:$S$10</c:f>
              <c:numCache>
                <c:formatCode>General</c:formatCode>
                <c:ptCount val="9"/>
                <c:pt idx="3">
                  <c:v>643.716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T$2:$T$10</c:f>
              <c:numCache>
                <c:formatCode>General</c:formatCode>
                <c:ptCount val="9"/>
                <c:pt idx="0">
                  <c:v>330.818</c:v>
                </c:pt>
                <c:pt idx="1">
                  <c:v>326.622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U$2:$U$10</c:f>
              <c:numCache>
                <c:formatCode>General</c:formatCode>
                <c:ptCount val="9"/>
                <c:pt idx="1">
                  <c:v>472.6293</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V$2:$V$10</c:f>
              <c:numCache>
                <c:formatCode>General</c:formatCode>
                <c:ptCount val="9"/>
                <c:pt idx="0">
                  <c:v>105.0</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W$2:$W$10</c:f>
              <c:numCache>
                <c:formatCode>General</c:formatCode>
                <c:ptCount val="9"/>
                <c:pt idx="6">
                  <c:v>787.5763</c:v>
                </c:pt>
                <c:pt idx="7">
                  <c:v>300.5167</c:v>
                </c:pt>
                <c:pt idx="8">
                  <c:v>547.5957</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X$2:$X$10</c:f>
              <c:numCache>
                <c:formatCode>General</c:formatCode>
                <c:ptCount val="9"/>
                <c:pt idx="0">
                  <c:v>358.0</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Y$2:$Y$10</c:f>
              <c:numCache>
                <c:formatCode>General</c:formatCode>
                <c:ptCount val="9"/>
                <c:pt idx="0">
                  <c:v>340.8083</c:v>
                </c:pt>
                <c:pt idx="1">
                  <c:v>342.1964</c:v>
                </c:pt>
                <c:pt idx="2">
                  <c:v>277.0625</c:v>
                </c:pt>
                <c:pt idx="3">
                  <c:v>630.0928</c:v>
                </c:pt>
                <c:pt idx="4">
                  <c:v>636.9591</c:v>
                </c:pt>
                <c:pt idx="5">
                  <c:v>673.9254</c:v>
                </c:pt>
                <c:pt idx="6">
                  <c:v>706.274</c:v>
                </c:pt>
                <c:pt idx="7">
                  <c:v>300.2204</c:v>
                </c:pt>
                <c:pt idx="8">
                  <c:v>954.86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Z$2:$Z$10</c:f>
              <c:numCache>
                <c:formatCode>General</c:formatCode>
                <c:ptCount val="9"/>
                <c:pt idx="0">
                  <c:v>64.4328</c:v>
                </c:pt>
                <c:pt idx="1">
                  <c:v>69.122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AA$2:$AA$10</c:f>
              <c:numCache>
                <c:formatCode>General</c:formatCode>
                <c:ptCount val="9"/>
                <c:pt idx="1">
                  <c:v>268.0921</c:v>
                </c:pt>
                <c:pt idx="4">
                  <c:v>548.4786</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Avene</c:v>
                </c:pt>
                <c:pt idx="7">
                  <c:v>Nivea</c:v>
                </c:pt>
                <c:pt idx="8">
                  <c:v>Others Marca Unif.</c:v>
                </c:pt>
              </c:strCache>
            </c:strRef>
          </c:cat>
          <c:val>
            <c:numRef>
              <c:f>Sheet1!$AB$2:$AB$10</c:f>
              <c:numCache>
                <c:formatCode>General</c:formatCode>
                <c:ptCount val="9"/>
                <c:pt idx="0">
                  <c:v>123.728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B$2:$B$10</c:f>
              <c:numCache>
                <c:formatCode>General</c:formatCode>
                <c:ptCount val="9"/>
                <c:pt idx="2">
                  <c:v>205.88</c:v>
                </c:pt>
                <c:pt idx="4">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C$2:$C$10</c:f>
              <c:numCache>
                <c:formatCode>General</c:formatCode>
                <c:ptCount val="9"/>
                <c:pt idx="1">
                  <c:v>156.2336</c:v>
                </c:pt>
                <c:pt idx="7">
                  <c:v>96.87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D$2:$D$10</c:f>
              <c:numCache>
                <c:formatCode>General</c:formatCode>
                <c:ptCount val="9"/>
                <c:pt idx="3">
                  <c:v>169.5379</c:v>
                </c:pt>
                <c:pt idx="4">
                  <c:v>135.8572</c:v>
                </c:pt>
                <c:pt idx="8">
                  <c:v>291.05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E$2:$E$10</c:f>
              <c:numCache>
                <c:formatCode>General</c:formatCode>
                <c:ptCount val="9"/>
                <c:pt idx="3">
                  <c:v>280.4306</c:v>
                </c:pt>
                <c:pt idx="6">
                  <c:v>90.70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F$2:$F$10</c:f>
              <c:numCache>
                <c:formatCode>General</c:formatCode>
                <c:ptCount val="9"/>
                <c:pt idx="0">
                  <c:v>283.3078</c:v>
                </c:pt>
                <c:pt idx="4">
                  <c:v>154.50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G$2:$G$10</c:f>
              <c:numCache>
                <c:formatCode>General</c:formatCode>
                <c:ptCount val="9"/>
                <c:pt idx="0">
                  <c:v>210.1855</c:v>
                </c:pt>
                <c:pt idx="1">
                  <c:v>192.549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H$2:$H$10</c:f>
              <c:numCache>
                <c:formatCode>General</c:formatCode>
                <c:ptCount val="9"/>
                <c:pt idx="3">
                  <c:v>273.68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I$2:$I$10</c:f>
              <c:numCache>
                <c:formatCode>General</c:formatCode>
                <c:ptCount val="9"/>
                <c:pt idx="1">
                  <c:v>22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36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J$2:$J$10</c:f>
              <c:numCache>
                <c:formatCode>General</c:formatCode>
                <c:ptCount val="9"/>
                <c:pt idx="0">
                  <c:v>241.74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K$2:$K$10</c:f>
              <c:numCache>
                <c:formatCode>General</c:formatCode>
                <c:ptCount val="9"/>
                <c:pt idx="0">
                  <c:v>157.9333</c:v>
                </c:pt>
                <c:pt idx="1">
                  <c:v>172.265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L$2:$L$10</c:f>
              <c:numCache>
                <c:formatCode>General</c:formatCode>
                <c:ptCount val="9"/>
                <c:pt idx="5">
                  <c:v>465.668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M$2:$M$10</c:f>
              <c:numCache>
                <c:formatCode>General</c:formatCode>
                <c:ptCount val="9"/>
                <c:pt idx="3">
                  <c:v>254.462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N$2:$N$10</c:f>
              <c:numCache>
                <c:formatCode>General</c:formatCode>
                <c:ptCount val="9"/>
                <c:pt idx="3">
                  <c:v>231.3578</c:v>
                </c:pt>
                <c:pt idx="4">
                  <c:v>92.8092</c:v>
                </c:pt>
                <c:pt idx="5">
                  <c:v>447.851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O$2:$O$10</c:f>
              <c:numCache>
                <c:formatCode>General</c:formatCode>
                <c:ptCount val="9"/>
                <c:pt idx="0">
                  <c:v>120.8929</c:v>
                </c:pt>
                <c:pt idx="1">
                  <c:v>97.0141</c:v>
                </c:pt>
                <c:pt idx="4">
                  <c:v>97.3934</c:v>
                </c:pt>
                <c:pt idx="6">
                  <c:v>50.787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P$2:$P$10</c:f>
              <c:numCache>
                <c:formatCode>General</c:formatCode>
                <c:ptCount val="9"/>
                <c:pt idx="1">
                  <c:v>88.51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B$2:$B$10</c:f>
              <c:numCache>
                <c:formatCode>General</c:formatCode>
                <c:ptCount val="9"/>
                <c:pt idx="0">
                  <c:v>242.6011</c:v>
                </c:pt>
                <c:pt idx="2">
                  <c:v>199.01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C$2:$C$10</c:f>
              <c:numCache>
                <c:formatCode>General</c:formatCode>
                <c:ptCount val="9"/>
                <c:pt idx="1">
                  <c:v>139.9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D$2:$D$10</c:f>
              <c:numCache>
                <c:formatCode>General</c:formatCode>
                <c:ptCount val="9"/>
                <c:pt idx="0">
                  <c:v>182.7699</c:v>
                </c:pt>
                <c:pt idx="5">
                  <c:v>224.51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E$2:$E$10</c:f>
              <c:numCache>
                <c:formatCode>General</c:formatCode>
                <c:ptCount val="9"/>
                <c:pt idx="3">
                  <c:v>175.09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F$2:$F$10</c:f>
              <c:numCache>
                <c:formatCode>General</c:formatCode>
                <c:ptCount val="9"/>
                <c:pt idx="0">
                  <c:v>238.7825</c:v>
                </c:pt>
                <c:pt idx="3">
                  <c:v>253.5711</c:v>
                </c:pt>
                <c:pt idx="6">
                  <c:v>106.71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G$2:$G$10</c:f>
              <c:numCache>
                <c:formatCode>General</c:formatCode>
                <c:ptCount val="9"/>
                <c:pt idx="1">
                  <c:v>267.701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H$2:$H$10</c:f>
              <c:numCache>
                <c:formatCode>General</c:formatCode>
                <c:ptCount val="9"/>
                <c:pt idx="0">
                  <c:v>70.725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I$2:$I$10</c:f>
              <c:numCache>
                <c:formatCode>General</c:formatCode>
                <c:ptCount val="9"/>
                <c:pt idx="0">
                  <c:v>268.1047</c:v>
                </c:pt>
                <c:pt idx="1">
                  <c:v>243.32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J$2:$J$10</c:f>
              <c:numCache>
                <c:formatCode>General</c:formatCode>
                <c:ptCount val="9"/>
                <c:pt idx="0">
                  <c:v>159.1096</c:v>
                </c:pt>
                <c:pt idx="3">
                  <c:v>257.1364</c:v>
                </c:pt>
                <c:pt idx="4">
                  <c:v>594.2317</c:v>
                </c:pt>
                <c:pt idx="5">
                  <c:v>304.4295</c:v>
                </c:pt>
                <c:pt idx="7">
                  <c:v>106.768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K$2:$K$10</c:f>
              <c:numCache>
                <c:formatCode>General</c:formatCode>
                <c:ptCount val="9"/>
                <c:pt idx="0">
                  <c:v>270.0428</c:v>
                </c:pt>
                <c:pt idx="1">
                  <c:v>259.89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L$2:$L$10</c:f>
              <c:numCache>
                <c:formatCode>General</c:formatCode>
                <c:ptCount val="9"/>
                <c:pt idx="1">
                  <c:v>126.15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M$2:$M$10</c:f>
              <c:numCache>
                <c:formatCode>General</c:formatCode>
                <c:ptCount val="9"/>
                <c:pt idx="1">
                  <c:v>242.753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7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N$2:$N$10</c:f>
              <c:numCache>
                <c:formatCode>General</c:formatCode>
                <c:ptCount val="9"/>
                <c:pt idx="1">
                  <c:v>220.037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O$2:$O$10</c:f>
              <c:numCache>
                <c:formatCode>General</c:formatCode>
                <c:ptCount val="9"/>
                <c:pt idx="0">
                  <c:v>249.9821</c:v>
                </c:pt>
                <c:pt idx="1">
                  <c:v>230.552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P$2:$P$10</c:f>
              <c:numCache>
                <c:formatCode>General</c:formatCode>
                <c:ptCount val="9"/>
                <c:pt idx="4">
                  <c:v>599.6027</c:v>
                </c:pt>
                <c:pt idx="6">
                  <c:v>129.4694</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Q$2:$Q$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R$2:$R$10</c:f>
              <c:numCache>
                <c:formatCode>General</c:formatCode>
                <c:ptCount val="9"/>
                <c:pt idx="1">
                  <c:v>304.807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S$2:$S$10</c:f>
              <c:numCache>
                <c:formatCode>General</c:formatCode>
                <c:ptCount val="9"/>
                <c:pt idx="1">
                  <c:v>262.89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T$2:$T$10</c:f>
              <c:numCache>
                <c:formatCode>General</c:formatCode>
                <c:ptCount val="9"/>
                <c:pt idx="3">
                  <c:v>245.8582</c:v>
                </c:pt>
                <c:pt idx="5">
                  <c:v>303.461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U$2:$U$10</c:f>
              <c:numCache>
                <c:formatCode>General</c:formatCode>
                <c:ptCount val="9"/>
                <c:pt idx="1">
                  <c:v>146.576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V$2:$V$10</c:f>
              <c:numCache>
                <c:formatCode>General</c:formatCode>
                <c:ptCount val="9"/>
                <c:pt idx="1">
                  <c:v>151.8739</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W$2:$W$10</c:f>
              <c:numCache>
                <c:formatCode>General</c:formatCode>
                <c:ptCount val="9"/>
                <c:pt idx="0">
                  <c:v>222.5471</c:v>
                </c:pt>
                <c:pt idx="1">
                  <c:v>269.4524</c:v>
                </c:pt>
                <c:pt idx="2">
                  <c:v>206.8187</c:v>
                </c:pt>
                <c:pt idx="3">
                  <c:v>231.7299</c:v>
                </c:pt>
                <c:pt idx="4">
                  <c:v>582.9502</c:v>
                </c:pt>
                <c:pt idx="8">
                  <c:v>549.8325</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X$2:$X$10</c:f>
              <c:numCache>
                <c:formatCode>General</c:formatCode>
                <c:ptCount val="9"/>
                <c:pt idx="0">
                  <c:v>102.21</c:v>
                </c:pt>
                <c:pt idx="1">
                  <c:v>106.6671</c:v>
                </c:pt>
                <c:pt idx="6">
                  <c:v>32.789</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Y$2:$Y$10</c:f>
              <c:numCache>
                <c:formatCode>General</c:formatCode>
                <c:ptCount val="9"/>
                <c:pt idx="1">
                  <c:v>204.0581</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Z$2:$Z$10</c:f>
              <c:numCache>
                <c:formatCode>General</c:formatCode>
                <c:ptCount val="9"/>
                <c:pt idx="6">
                  <c:v>124.9101</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AA$2:$AA$10</c:f>
              <c:numCache>
                <c:formatCode>General</c:formatCode>
                <c:ptCount val="9"/>
                <c:pt idx="0">
                  <c:v>96.260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B$2:$B$10</c:f>
              <c:numCache>
                <c:formatCode>General</c:formatCode>
                <c:ptCount val="9"/>
                <c:pt idx="0">
                  <c:v>263.2381</c:v>
                </c:pt>
                <c:pt idx="2">
                  <c:v>197.24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D$2:$D$10</c:f>
              <c:numCache>
                <c:formatCode>General</c:formatCode>
                <c:ptCount val="9"/>
                <c:pt idx="4">
                  <c:v>475.4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E$2:$E$10</c:f>
              <c:numCache>
                <c:formatCode>General</c:formatCode>
                <c:ptCount val="9"/>
                <c:pt idx="1">
                  <c:v>139.98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F$2:$F$10</c:f>
              <c:numCache>
                <c:formatCode>General</c:formatCode>
                <c:ptCount val="9"/>
                <c:pt idx="0">
                  <c:v>182.4925</c:v>
                </c:pt>
                <c:pt idx="1">
                  <c:v>208.25</c:v>
                </c:pt>
                <c:pt idx="7">
                  <c:v>513.29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G$2:$G$10</c:f>
              <c:numCache>
                <c:formatCode>General</c:formatCode>
                <c:ptCount val="9"/>
                <c:pt idx="3">
                  <c:v>174.7715</c:v>
                </c:pt>
                <c:pt idx="7">
                  <c:v>143.35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H$2:$H$10</c:f>
              <c:numCache>
                <c:formatCode>General</c:formatCode>
                <c:ptCount val="9"/>
                <c:pt idx="0">
                  <c:v>249.4224</c:v>
                </c:pt>
                <c:pt idx="3">
                  <c:v>271.4586</c:v>
                </c:pt>
                <c:pt idx="8">
                  <c:v>684.757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I$2:$I$10</c:f>
              <c:numCache>
                <c:formatCode>General</c:formatCode>
                <c:ptCount val="9"/>
                <c:pt idx="1">
                  <c:v>276.275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J$2:$J$10</c:f>
              <c:numCache>
                <c:formatCode>General</c:formatCode>
                <c:ptCount val="9"/>
                <c:pt idx="0">
                  <c:v>243.70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K$2:$K$10</c:f>
              <c:numCache>
                <c:formatCode>General</c:formatCode>
                <c:ptCount val="9"/>
                <c:pt idx="0">
                  <c:v>266.5653</c:v>
                </c:pt>
                <c:pt idx="1">
                  <c:v>261.0556</c:v>
                </c:pt>
                <c:pt idx="2">
                  <c:v>522.289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L$2:$L$10</c:f>
              <c:numCache>
                <c:formatCode>General</c:formatCode>
                <c:ptCount val="9"/>
                <c:pt idx="3">
                  <c:v>275.4948</c:v>
                </c:pt>
                <c:pt idx="4">
                  <c:v>628.532</c:v>
                </c:pt>
                <c:pt idx="6">
                  <c:v>721.5475</c:v>
                </c:pt>
                <c:pt idx="8">
                  <c:v>719.383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M$2:$M$10</c:f>
              <c:numCache>
                <c:formatCode>General</c:formatCode>
                <c:ptCount val="9"/>
                <c:pt idx="0">
                  <c:v>277.8749</c:v>
                </c:pt>
                <c:pt idx="1">
                  <c:v>273.748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6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N$2:$N$10</c:f>
              <c:numCache>
                <c:formatCode>General</c:formatCode>
                <c:ptCount val="9"/>
                <c:pt idx="1">
                  <c:v>246.509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O$2:$O$10</c:f>
              <c:numCache>
                <c:formatCode>General</c:formatCode>
                <c:ptCount val="9"/>
                <c:pt idx="0">
                  <c:v>264.1204</c:v>
                </c:pt>
                <c:pt idx="1">
                  <c:v>239.532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P$2:$P$10</c:f>
              <c:numCache>
                <c:formatCode>General</c:formatCode>
                <c:ptCount val="9"/>
                <c:pt idx="4">
                  <c:v>631.390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Q$2:$Q$10</c:f>
              <c:numCache>
                <c:formatCode>General</c:formatCode>
                <c:ptCount val="9"/>
                <c:pt idx="0">
                  <c:v>38.1935</c:v>
                </c:pt>
                <c:pt idx="1">
                  <c:v>38.300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R$2:$R$10</c:f>
              <c:numCache>
                <c:formatCode>General</c:formatCode>
                <c:ptCount val="9"/>
                <c:pt idx="1">
                  <c:v>302.746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S$2:$S$10</c:f>
              <c:numCache>
                <c:formatCode>General</c:formatCode>
                <c:ptCount val="9"/>
                <c:pt idx="3">
                  <c:v>263.0861</c:v>
                </c:pt>
                <c:pt idx="7">
                  <c:v>522.386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T$2:$T$10</c:f>
              <c:numCache>
                <c:formatCode>General</c:formatCode>
                <c:ptCount val="9"/>
                <c:pt idx="0">
                  <c:v>231.5438</c:v>
                </c:pt>
                <c:pt idx="1">
                  <c:v>270.2126</c:v>
                </c:pt>
                <c:pt idx="2">
                  <c:v>208.5341</c:v>
                </c:pt>
                <c:pt idx="3">
                  <c:v>248.5054</c:v>
                </c:pt>
                <c:pt idx="4">
                  <c:v>622.7653</c:v>
                </c:pt>
                <c:pt idx="5">
                  <c:v>617.0494</c:v>
                </c:pt>
                <c:pt idx="6">
                  <c:v>646.5661</c:v>
                </c:pt>
                <c:pt idx="7">
                  <c:v>526.5017</c:v>
                </c:pt>
                <c:pt idx="8">
                  <c:v>652.145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U$2:$U$10</c:f>
              <c:numCache>
                <c:formatCode>General</c:formatCode>
                <c:ptCount val="9"/>
                <c:pt idx="0">
                  <c:v>91.6395</c:v>
                </c:pt>
                <c:pt idx="1">
                  <c:v>84.8929</c:v>
                </c:pt>
                <c:pt idx="7">
                  <c:v>159.322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V$2:$V$10</c:f>
              <c:numCache>
                <c:formatCode>General</c:formatCode>
                <c:ptCount val="9"/>
                <c:pt idx="1">
                  <c:v>206.1407</c:v>
                </c:pt>
                <c:pt idx="5">
                  <c:v>519.7577</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Others Marca Unif.</c:v>
                </c:pt>
                <c:pt idx="8">
                  <c:v>Avene</c:v>
                </c:pt>
              </c:strCache>
            </c:strRef>
          </c:cat>
          <c:val>
            <c:numRef>
              <c:f>Sheet1!$W$2:$W$10</c:f>
              <c:numCache>
                <c:formatCode>General</c:formatCode>
                <c:ptCount val="9"/>
                <c:pt idx="0">
                  <c:v>97.114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B$2:$B$10</c:f>
              <c:numCache>
                <c:formatCode>General</c:formatCode>
                <c:ptCount val="9"/>
                <c:pt idx="0">
                  <c:v>267.6563</c:v>
                </c:pt>
                <c:pt idx="2">
                  <c:v>199.45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D$2:$D$10</c:f>
              <c:numCache>
                <c:formatCode>General</c:formatCode>
                <c:ptCount val="9"/>
                <c:pt idx="4">
                  <c:v>480.52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E$2:$E$10</c:f>
              <c:numCache>
                <c:formatCode>General</c:formatCode>
                <c:ptCount val="9"/>
                <c:pt idx="1">
                  <c:v>140.18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F$2:$F$10</c:f>
              <c:numCache>
                <c:formatCode>General</c:formatCode>
                <c:ptCount val="9"/>
                <c:pt idx="0">
                  <c:v>182.7601</c:v>
                </c:pt>
                <c:pt idx="1">
                  <c:v>208.25</c:v>
                </c:pt>
                <c:pt idx="8">
                  <c:v>509.17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G$2:$G$10</c:f>
              <c:numCache>
                <c:formatCode>General</c:formatCode>
                <c:ptCount val="9"/>
                <c:pt idx="3">
                  <c:v>173.08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H$2:$H$10</c:f>
              <c:numCache>
                <c:formatCode>General</c:formatCode>
                <c:ptCount val="9"/>
                <c:pt idx="0">
                  <c:v>252.9382</c:v>
                </c:pt>
                <c:pt idx="3">
                  <c:v>270.2144</c:v>
                </c:pt>
                <c:pt idx="7">
                  <c:v>689.664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I$2:$I$10</c:f>
              <c:numCache>
                <c:formatCode>General</c:formatCode>
                <c:ptCount val="9"/>
                <c:pt idx="1">
                  <c:v>280.53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J$2:$J$10</c:f>
              <c:numCache>
                <c:formatCode>General</c:formatCode>
                <c:ptCount val="9"/>
                <c:pt idx="0">
                  <c:v>246.500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K$2:$K$10</c:f>
              <c:numCache>
                <c:formatCode>General</c:formatCode>
                <c:ptCount val="9"/>
                <c:pt idx="0">
                  <c:v>272.2186</c:v>
                </c:pt>
                <c:pt idx="1">
                  <c:v>264.3496</c:v>
                </c:pt>
                <c:pt idx="2">
                  <c:v>551.166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L$2:$L$10</c:f>
              <c:numCache>
                <c:formatCode>General</c:formatCode>
                <c:ptCount val="9"/>
                <c:pt idx="3">
                  <c:v>275.9941</c:v>
                </c:pt>
                <c:pt idx="4">
                  <c:v>635.3463</c:v>
                </c:pt>
                <c:pt idx="6">
                  <c:v>733.907</c:v>
                </c:pt>
                <c:pt idx="7">
                  <c:v>738.8873</c:v>
                </c:pt>
                <c:pt idx="8">
                  <c:v>153.533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M$2:$M$10</c:f>
              <c:numCache>
                <c:formatCode>General</c:formatCode>
                <c:ptCount val="9"/>
                <c:pt idx="0">
                  <c:v>284.361</c:v>
                </c:pt>
                <c:pt idx="1">
                  <c:v>274.953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6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N$2:$N$10</c:f>
              <c:numCache>
                <c:formatCode>General</c:formatCode>
                <c:ptCount val="9"/>
                <c:pt idx="1">
                  <c:v>249.64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O$2:$O$10</c:f>
              <c:numCache>
                <c:formatCode>General</c:formatCode>
                <c:ptCount val="9"/>
                <c:pt idx="0">
                  <c:v>265.9518</c:v>
                </c:pt>
                <c:pt idx="1">
                  <c:v>243.669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P$2:$P$10</c:f>
              <c:numCache>
                <c:formatCode>General</c:formatCode>
                <c:ptCount val="9"/>
                <c:pt idx="4">
                  <c:v>636.317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Q$2:$Q$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R$2:$R$10</c:f>
              <c:numCache>
                <c:formatCode>General</c:formatCode>
                <c:ptCount val="9"/>
                <c:pt idx="1">
                  <c:v>305.067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S$2:$S$10</c:f>
              <c:numCache>
                <c:formatCode>General</c:formatCode>
                <c:ptCount val="9"/>
                <c:pt idx="3">
                  <c:v>262.6641</c:v>
                </c:pt>
                <c:pt idx="7">
                  <c:v>774.5679</c:v>
                </c:pt>
                <c:pt idx="8">
                  <c:v>529.596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T$2:$T$10</c:f>
              <c:numCache>
                <c:formatCode>General</c:formatCode>
                <c:ptCount val="9"/>
                <c:pt idx="0">
                  <c:v>234.5103</c:v>
                </c:pt>
                <c:pt idx="1">
                  <c:v>272.3561</c:v>
                </c:pt>
                <c:pt idx="2">
                  <c:v>208.892</c:v>
                </c:pt>
                <c:pt idx="3">
                  <c:v>247.4402</c:v>
                </c:pt>
                <c:pt idx="4">
                  <c:v>620.6019</c:v>
                </c:pt>
                <c:pt idx="5">
                  <c:v>624.9672</c:v>
                </c:pt>
                <c:pt idx="6">
                  <c:v>655.668</c:v>
                </c:pt>
                <c:pt idx="7">
                  <c:v>659.1186</c:v>
                </c:pt>
                <c:pt idx="8">
                  <c:v>702.5327</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U$2:$U$10</c:f>
              <c:numCache>
                <c:formatCode>General</c:formatCode>
                <c:ptCount val="9"/>
                <c:pt idx="0">
                  <c:v>92.5038</c:v>
                </c:pt>
                <c:pt idx="1">
                  <c:v>84.7342</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V$2:$V$10</c:f>
              <c:numCache>
                <c:formatCode>General</c:formatCode>
                <c:ptCount val="9"/>
                <c:pt idx="1">
                  <c:v>207.7195</c:v>
                </c:pt>
                <c:pt idx="5">
                  <c:v>527.995</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La Roche-Posay</c:v>
                </c:pt>
                <c:pt idx="6">
                  <c:v>Eucerin</c:v>
                </c:pt>
                <c:pt idx="7">
                  <c:v>Avene</c:v>
                </c:pt>
                <c:pt idx="8">
                  <c:v>Others Marca Unif.</c:v>
                </c:pt>
              </c:strCache>
            </c:strRef>
          </c:cat>
          <c:val>
            <c:numRef>
              <c:f>Sheet1!$W$2:$W$10</c:f>
              <c:numCache>
                <c:formatCode>General</c:formatCode>
                <c:ptCount val="9"/>
                <c:pt idx="0">
                  <c:v>97.155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B$2:$B$10</c:f>
              <c:numCache>
                <c:formatCode>General</c:formatCode>
                <c:ptCount val="9"/>
                <c:pt idx="0">
                  <c:v>364.9119</c:v>
                </c:pt>
                <c:pt idx="2">
                  <c:v>395.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C$2:$C$10</c:f>
              <c:numCache>
                <c:formatCode>General</c:formatCode>
                <c:ptCount val="9"/>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D$2:$D$10</c:f>
              <c:numCache>
                <c:formatCode>General</c:formatCode>
                <c:ptCount val="9"/>
                <c:pt idx="3">
                  <c:v>489.36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18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E$2:$E$10</c:f>
              <c:numCache>
                <c:formatCode>General</c:formatCode>
                <c:ptCount val="9"/>
                <c:pt idx="1">
                  <c:v>361.22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F$2:$F$10</c:f>
              <c:numCache>
                <c:formatCode>General</c:formatCode>
                <c:ptCount val="9"/>
                <c:pt idx="0">
                  <c:v>182.863</c:v>
                </c:pt>
                <c:pt idx="1">
                  <c:v>208.25</c:v>
                </c:pt>
                <c:pt idx="8">
                  <c:v>665.32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G$2:$G$10</c:f>
              <c:numCache>
                <c:formatCode>General</c:formatCode>
                <c:ptCount val="9"/>
                <c:pt idx="6">
                  <c:v>170.668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H$2:$H$10</c:f>
              <c:numCache>
                <c:formatCode>General</c:formatCode>
                <c:ptCount val="9"/>
                <c:pt idx="0">
                  <c:v>263.8422</c:v>
                </c:pt>
                <c:pt idx="7">
                  <c:v>709.892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I$2:$I$10</c:f>
              <c:numCache>
                <c:formatCode>General</c:formatCode>
                <c:ptCount val="9"/>
                <c:pt idx="1">
                  <c:v>322.296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7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J$2:$J$10</c:f>
              <c:numCache>
                <c:formatCode>General</c:formatCode>
                <c:ptCount val="9"/>
                <c:pt idx="0">
                  <c:v>247.34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K$2:$K$10</c:f>
              <c:numCache>
                <c:formatCode>General</c:formatCode>
                <c:ptCount val="9"/>
                <c:pt idx="0">
                  <c:v>291.4993</c:v>
                </c:pt>
                <c:pt idx="1">
                  <c:v>312.3822</c:v>
                </c:pt>
                <c:pt idx="2">
                  <c:v>551.166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L$2:$L$10</c:f>
              <c:numCache>
                <c:formatCode>General</c:formatCode>
                <c:ptCount val="9"/>
                <c:pt idx="3">
                  <c:v>650.6767</c:v>
                </c:pt>
                <c:pt idx="5">
                  <c:v>756.3559</c:v>
                </c:pt>
                <c:pt idx="6">
                  <c:v>336.3758</c:v>
                </c:pt>
                <c:pt idx="7">
                  <c:v>768.6753</c:v>
                </c:pt>
                <c:pt idx="8">
                  <c:v>250.534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M$2:$M$10</c:f>
              <c:numCache>
                <c:formatCode>General</c:formatCode>
                <c:ptCount val="9"/>
                <c:pt idx="0">
                  <c:v>303.9672</c:v>
                </c:pt>
                <c:pt idx="1">
                  <c:v>297.132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36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N$2:$N$10</c:f>
              <c:numCache>
                <c:formatCode>General</c:formatCode>
                <c:ptCount val="9"/>
                <c:pt idx="1">
                  <c:v>287.884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O$2:$O$10</c:f>
              <c:numCache>
                <c:formatCode>General</c:formatCode>
                <c:ptCount val="9"/>
                <c:pt idx="0">
                  <c:v>287.3443</c:v>
                </c:pt>
                <c:pt idx="1">
                  <c:v>279.21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P$2:$P$10</c:f>
              <c:numCache>
                <c:formatCode>General</c:formatCode>
                <c:ptCount val="9"/>
                <c:pt idx="3">
                  <c:v>643.716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Q$2:$Q$10</c:f>
              <c:numCache>
                <c:formatCode>General</c:formatCode>
                <c:ptCount val="9"/>
                <c:pt idx="6">
                  <c:v>300.5167</c:v>
                </c:pt>
                <c:pt idx="7">
                  <c:v>787.5763</c:v>
                </c:pt>
                <c:pt idx="8">
                  <c:v>547.595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R$2:$R$10</c:f>
              <c:numCache>
                <c:formatCode>General</c:formatCode>
                <c:ptCount val="9"/>
                <c:pt idx="0">
                  <c:v>340.8083</c:v>
                </c:pt>
                <c:pt idx="1">
                  <c:v>342.1964</c:v>
                </c:pt>
                <c:pt idx="2">
                  <c:v>277.0625</c:v>
                </c:pt>
                <c:pt idx="3">
                  <c:v>630.0928</c:v>
                </c:pt>
                <c:pt idx="4">
                  <c:v>633.258</c:v>
                </c:pt>
                <c:pt idx="5">
                  <c:v>674.2555</c:v>
                </c:pt>
                <c:pt idx="6">
                  <c:v>300.2204</c:v>
                </c:pt>
                <c:pt idx="7">
                  <c:v>683.8778</c:v>
                </c:pt>
                <c:pt idx="8">
                  <c:v>954.86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S$2:$S$10</c:f>
              <c:numCache>
                <c:formatCode>General</c:formatCode>
                <c:ptCount val="9"/>
                <c:pt idx="0">
                  <c:v>64.4328</c:v>
                </c:pt>
                <c:pt idx="1">
                  <c:v>69.1222</c:v>
                </c:pt>
                <c:pt idx="8">
                  <c:v>285.122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T$2:$T$10</c:f>
              <c:numCache>
                <c:formatCode>General</c:formatCode>
                <c:ptCount val="9"/>
                <c:pt idx="1">
                  <c:v>268.0921</c:v>
                </c:pt>
                <c:pt idx="4">
                  <c:v>548.4786</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Isdin</c:v>
                </c:pt>
                <c:pt idx="4">
                  <c:v>La Roche-Posay</c:v>
                </c:pt>
                <c:pt idx="5">
                  <c:v>Eucerin</c:v>
                </c:pt>
                <c:pt idx="6">
                  <c:v>Nivea</c:v>
                </c:pt>
                <c:pt idx="7">
                  <c:v>Avene</c:v>
                </c:pt>
                <c:pt idx="8">
                  <c:v>Others Marca Unif.</c:v>
                </c:pt>
              </c:strCache>
            </c:strRef>
          </c:cat>
          <c:val>
            <c:numRef>
              <c:f>Sheet1!$U$2:$U$10</c:f>
              <c:numCache>
                <c:formatCode>General</c:formatCode>
                <c:ptCount val="9"/>
                <c:pt idx="0">
                  <c:v>123.728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B$2:$B$10</c:f>
              <c:numCache>
                <c:formatCode>General</c:formatCode>
                <c:ptCount val="9"/>
                <c:pt idx="2">
                  <c:v>205.88</c:v>
                </c:pt>
                <c:pt idx="4">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C$2:$C$10</c:f>
              <c:numCache>
                <c:formatCode>General</c:formatCode>
                <c:ptCount val="9"/>
                <c:pt idx="1">
                  <c:v>156.2336</c:v>
                </c:pt>
                <c:pt idx="7">
                  <c:v>96.87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D$2:$D$10</c:f>
              <c:numCache>
                <c:formatCode>General</c:formatCode>
                <c:ptCount val="9"/>
                <c:pt idx="3">
                  <c:v>169.5379</c:v>
                </c:pt>
                <c:pt idx="4">
                  <c:v>135.8572</c:v>
                </c:pt>
                <c:pt idx="8">
                  <c:v>291.05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E$2:$E$10</c:f>
              <c:numCache>
                <c:formatCode>General</c:formatCode>
                <c:ptCount val="9"/>
                <c:pt idx="3">
                  <c:v>280.4306</c:v>
                </c:pt>
                <c:pt idx="6">
                  <c:v>90.70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F$2:$F$10</c:f>
              <c:numCache>
                <c:formatCode>General</c:formatCode>
                <c:ptCount val="9"/>
                <c:pt idx="0">
                  <c:v>283.3078</c:v>
                </c:pt>
                <c:pt idx="4">
                  <c:v>154.50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G$2:$G$10</c:f>
              <c:numCache>
                <c:formatCode>General</c:formatCode>
                <c:ptCount val="9"/>
                <c:pt idx="0">
                  <c:v>210.1855</c:v>
                </c:pt>
                <c:pt idx="1">
                  <c:v>195.667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H$2:$H$10</c:f>
              <c:numCache>
                <c:formatCode>General</c:formatCode>
                <c:ptCount val="9"/>
                <c:pt idx="3">
                  <c:v>277.872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I$2:$I$10</c:f>
              <c:numCache>
                <c:formatCode>General</c:formatCode>
                <c:ptCount val="9"/>
                <c:pt idx="1">
                  <c:v>22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36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J$2:$J$10</c:f>
              <c:numCache>
                <c:formatCode>General</c:formatCode>
                <c:ptCount val="9"/>
                <c:pt idx="0">
                  <c:v>241.74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K$2:$K$10</c:f>
              <c:numCache>
                <c:formatCode>General</c:formatCode>
                <c:ptCount val="9"/>
                <c:pt idx="0">
                  <c:v>157.9333</c:v>
                </c:pt>
                <c:pt idx="1">
                  <c:v>227.996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L$2:$L$10</c:f>
              <c:numCache>
                <c:formatCode>General</c:formatCode>
                <c:ptCount val="9"/>
                <c:pt idx="5">
                  <c:v>465.668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M$2:$M$10</c:f>
              <c:numCache>
                <c:formatCode>General</c:formatCode>
                <c:ptCount val="9"/>
                <c:pt idx="3">
                  <c:v>254.462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N$2:$N$10</c:f>
              <c:numCache>
                <c:formatCode>General</c:formatCode>
                <c:ptCount val="9"/>
                <c:pt idx="3">
                  <c:v>231.3578</c:v>
                </c:pt>
                <c:pt idx="4">
                  <c:v>92.8092</c:v>
                </c:pt>
                <c:pt idx="5">
                  <c:v>447.851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O$2:$O$10</c:f>
              <c:numCache>
                <c:formatCode>General</c:formatCode>
                <c:ptCount val="9"/>
                <c:pt idx="0">
                  <c:v>120.8929</c:v>
                </c:pt>
                <c:pt idx="1">
                  <c:v>97.0141</c:v>
                </c:pt>
                <c:pt idx="4">
                  <c:v>97.3934</c:v>
                </c:pt>
                <c:pt idx="6">
                  <c:v>50.787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Beauty Care</c:v>
                </c:pt>
                <c:pt idx="3">
                  <c:v>Nivea</c:v>
                </c:pt>
                <c:pt idx="4">
                  <c:v>Others Marca Unif.</c:v>
                </c:pt>
                <c:pt idx="5">
                  <c:v>Isdin</c:v>
                </c:pt>
                <c:pt idx="6">
                  <c:v>Caribbean Beach</c:v>
                </c:pt>
                <c:pt idx="7">
                  <c:v>Nuvel</c:v>
                </c:pt>
                <c:pt idx="8">
                  <c:v>Eclipsol</c:v>
                </c:pt>
              </c:strCache>
            </c:strRef>
          </c:cat>
          <c:val>
            <c:numRef>
              <c:f>Sheet1!$P$2:$P$10</c:f>
              <c:numCache>
                <c:formatCode>General</c:formatCode>
                <c:ptCount val="9"/>
                <c:pt idx="1">
                  <c:v>88.51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B$2:$B$10</c:f>
              <c:numCache>
                <c:formatCode>General</c:formatCode>
                <c:ptCount val="9"/>
                <c:pt idx="0">
                  <c:v>242.6011</c:v>
                </c:pt>
                <c:pt idx="2">
                  <c:v>199.01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C$2:$C$10</c:f>
              <c:numCache>
                <c:formatCode>General</c:formatCode>
                <c:ptCount val="9"/>
                <c:pt idx="1">
                  <c:v>139.9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D$2:$D$10</c:f>
              <c:numCache>
                <c:formatCode>General</c:formatCode>
                <c:ptCount val="9"/>
                <c:pt idx="0">
                  <c:v>182.7699</c:v>
                </c:pt>
                <c:pt idx="5">
                  <c:v>224.51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E$2:$E$10</c:f>
              <c:numCache>
                <c:formatCode>General</c:formatCode>
                <c:ptCount val="9"/>
                <c:pt idx="3">
                  <c:v>175.09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F$2:$F$10</c:f>
              <c:numCache>
                <c:formatCode>General</c:formatCode>
                <c:ptCount val="9"/>
                <c:pt idx="0">
                  <c:v>238.7825</c:v>
                </c:pt>
                <c:pt idx="3">
                  <c:v>253.576</c:v>
                </c:pt>
                <c:pt idx="6">
                  <c:v>106.71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G$2:$G$10</c:f>
              <c:numCache>
                <c:formatCode>General</c:formatCode>
                <c:ptCount val="9"/>
                <c:pt idx="1">
                  <c:v>267.701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H$2:$H$10</c:f>
              <c:numCache>
                <c:formatCode>General</c:formatCode>
                <c:ptCount val="9"/>
                <c:pt idx="0">
                  <c:v>67.79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I$2:$I$10</c:f>
              <c:numCache>
                <c:formatCode>General</c:formatCode>
                <c:ptCount val="9"/>
                <c:pt idx="0">
                  <c:v>268.1027</c:v>
                </c:pt>
                <c:pt idx="1">
                  <c:v>243.32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J$2:$J$10</c:f>
              <c:numCache>
                <c:formatCode>General</c:formatCode>
                <c:ptCount val="9"/>
                <c:pt idx="3">
                  <c:v>262.1006</c:v>
                </c:pt>
                <c:pt idx="4">
                  <c:v>594.2317</c:v>
                </c:pt>
                <c:pt idx="5">
                  <c:v>304.4295</c:v>
                </c:pt>
                <c:pt idx="7">
                  <c:v>106.346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K$2:$K$10</c:f>
              <c:numCache>
                <c:formatCode>General</c:formatCode>
                <c:ptCount val="9"/>
                <c:pt idx="0">
                  <c:v>270.0428</c:v>
                </c:pt>
                <c:pt idx="1">
                  <c:v>259.89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L$2:$L$10</c:f>
              <c:numCache>
                <c:formatCode>General</c:formatCode>
                <c:ptCount val="9"/>
                <c:pt idx="1">
                  <c:v>242.753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M$2:$M$10</c:f>
              <c:numCache>
                <c:formatCode>General</c:formatCode>
                <c:ptCount val="9"/>
                <c:pt idx="0">
                  <c:v>257.9377</c:v>
                </c:pt>
                <c:pt idx="1">
                  <c:v>230.552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N$2:$N$10</c:f>
              <c:numCache>
                <c:formatCode>General</c:formatCode>
                <c:ptCount val="9"/>
                <c:pt idx="4">
                  <c:v>599.6027</c:v>
                </c:pt>
                <c:pt idx="6">
                  <c:v>129.469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O$2:$O$10</c:f>
              <c:numCache>
                <c:formatCode>General</c:formatCode>
                <c:ptCount val="9"/>
                <c:pt idx="1">
                  <c:v>5.0</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P$2:$P$10</c:f>
              <c:numCache>
                <c:formatCode>General</c:formatCode>
                <c:ptCount val="9"/>
                <c:pt idx="1">
                  <c:v>304.807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Q$2:$Q$10</c:f>
              <c:numCache>
                <c:formatCode>General</c:formatCode>
                <c:ptCount val="9"/>
                <c:pt idx="3">
                  <c:v>245.8582</c:v>
                </c:pt>
                <c:pt idx="5">
                  <c:v>306.643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R$2:$R$10</c:f>
              <c:numCache>
                <c:formatCode>General</c:formatCode>
                <c:ptCount val="9"/>
                <c:pt idx="0">
                  <c:v>222.5471</c:v>
                </c:pt>
                <c:pt idx="1">
                  <c:v>269.4524</c:v>
                </c:pt>
                <c:pt idx="2">
                  <c:v>206.8187</c:v>
                </c:pt>
                <c:pt idx="3">
                  <c:v>231.7299</c:v>
                </c:pt>
                <c:pt idx="4">
                  <c:v>582.9502</c:v>
                </c:pt>
                <c:pt idx="8">
                  <c:v>566.588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S$2:$S$10</c:f>
              <c:numCache>
                <c:formatCode>General</c:formatCode>
                <c:ptCount val="9"/>
                <c:pt idx="0">
                  <c:v>102.21</c:v>
                </c:pt>
                <c:pt idx="1">
                  <c:v>106.6671</c:v>
                </c:pt>
                <c:pt idx="6">
                  <c:v>32.78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T$2:$T$10</c:f>
              <c:numCache>
                <c:formatCode>General</c:formatCode>
                <c:ptCount val="9"/>
                <c:pt idx="1">
                  <c:v>204.058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U$2:$U$10</c:f>
              <c:numCache>
                <c:formatCode>General</c:formatCode>
                <c:ptCount val="9"/>
                <c:pt idx="6">
                  <c:v>124.910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Isdin</c:v>
                </c:pt>
                <c:pt idx="5">
                  <c:v>Neutrogena</c:v>
                </c:pt>
                <c:pt idx="6">
                  <c:v>Caribbean Beach</c:v>
                </c:pt>
                <c:pt idx="7">
                  <c:v>Others Marca Unif.</c:v>
                </c:pt>
                <c:pt idx="8">
                  <c:v>La Roche-Posay</c:v>
                </c:pt>
              </c:strCache>
            </c:strRef>
          </c:cat>
          <c:val>
            <c:numRef>
              <c:f>Sheet1!$V$2:$V$10</c:f>
              <c:numCache>
                <c:formatCode>General</c:formatCode>
                <c:ptCount val="9"/>
                <c:pt idx="0">
                  <c:v>96.260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dLblPos val="t"/>
              <c:showLegendKey val="0"/>
              <c:showVal val="1"/>
              <c:showCatName val="0"/>
              <c:showSerName val="0"/>
              <c:showPercent val="0"/>
              <c:showBubbleSize val="0"/>
            </c:dLbl>
            <c:dLbl>
              <c:idx val="1"/>
              <c:tx>
                <c:rich>
                  <a:bodyPr/>
                  <a:lstStyle/>
                  <a:p>
                    <a:r>
                      <a:t>306.84</a:t>
                    </a:r>
                  </a:p>
                </c:rich>
              </c:tx>
              <c:dLblPos val="t"/>
              <c:showLegendKey val="0"/>
              <c:showVal val="1"/>
              <c:showCatName val="0"/>
              <c:showSerName val="0"/>
              <c:showPercent val="0"/>
              <c:showBubbleSize val="0"/>
            </c:dLbl>
            <c:dLbl>
              <c:idx val="2"/>
              <c:tx>
                <c:rich>
                  <a:bodyPr/>
                  <a:lstStyle/>
                  <a:p>
                    <a:r>
                      <a:t>308.69</a:t>
                    </a:r>
                  </a:p>
                </c:rich>
              </c:tx>
              <c:dLblPos val="t"/>
              <c:showLegendKey val="0"/>
              <c:showVal val="1"/>
              <c:showCatName val="0"/>
              <c:showSerName val="0"/>
              <c:showPercent val="0"/>
              <c:showBubbleSize val="0"/>
            </c:dLbl>
            <c:dLbl>
              <c:idx val="3"/>
              <c:tx>
                <c:rich>
                  <a:bodyPr/>
                  <a:lstStyle/>
                  <a:p>
                    <a:r>
                      <a:t>334.03</a:t>
                    </a:r>
                  </a:p>
                </c:rich>
              </c:tx>
              <c:dLblPos val="t"/>
              <c:showLegendKey val="0"/>
              <c:showVal val="1"/>
              <c:showCatName val="0"/>
              <c:showSerName val="0"/>
              <c:showPercent val="0"/>
              <c:showBubbleSize val="0"/>
            </c:dLbl>
            <c:dLbl>
              <c:idx val="4"/>
              <c:tx>
                <c:rich>
                  <a:bodyPr/>
                  <a:lstStyle/>
                  <a:p>
                    <a:r>
                      <a:t>189.32</a:t>
                    </a:r>
                  </a:p>
                </c:rich>
              </c:tx>
              <c:dLblPos val="t"/>
              <c:showLegendKey val="0"/>
              <c:showVal val="1"/>
              <c:showCatName val="0"/>
              <c:showSerName val="0"/>
              <c:showPercent val="0"/>
              <c:showBubbleSize val="0"/>
            </c:dLbl>
            <c:dLbl>
              <c:idx val="5"/>
              <c:tx>
                <c:rich>
                  <a:bodyPr/>
                  <a:lstStyle/>
                  <a:p>
                    <a:r>
                      <a:t>327.07</a:t>
                    </a:r>
                  </a:p>
                </c:rich>
              </c:tx>
              <c:dLblPos val="t"/>
              <c:showLegendKey val="0"/>
              <c:showVal val="1"/>
              <c:showCatName val="0"/>
              <c:showSerName val="0"/>
              <c:showPercent val="0"/>
              <c:showBubbleSize val="0"/>
            </c:dLbl>
            <c:dLbl>
              <c:idx val="6"/>
              <c:tx>
                <c:rich>
                  <a:bodyPr/>
                  <a:lstStyle/>
                  <a:p>
                    <a:r>
                      <a:t>102.57</a:t>
                    </a:r>
                  </a:p>
                </c:rich>
              </c:tx>
              <c:dLblPos val="t"/>
              <c:showLegendKey val="0"/>
              <c:showVal val="1"/>
              <c:showCatName val="0"/>
              <c:showSerName val="0"/>
              <c:showPercent val="0"/>
              <c:showBubbleSize val="0"/>
            </c:dLbl>
            <c:dLbl>
              <c:idx val="7"/>
              <c:tx>
                <c:rich>
                  <a:bodyPr/>
                  <a:lstStyle/>
                  <a:p>
                    <a:r>
                      <a:t>301.36</a:t>
                    </a:r>
                  </a:p>
                </c:rich>
              </c:tx>
              <c:dLblPos val="t"/>
              <c:showLegendKey val="0"/>
              <c:showVal val="1"/>
              <c:showCatName val="0"/>
              <c:showSerName val="0"/>
              <c:showPercent val="0"/>
              <c:showBubbleSize val="0"/>
            </c:dLbl>
            <c:dLbl>
              <c:idx val="8"/>
              <c:tx>
                <c:rich>
                  <a:bodyPr/>
                  <a:lstStyle/>
                  <a:p>
                    <a:r>
                      <a:t>311.77</a:t>
                    </a:r>
                  </a:p>
                </c:rich>
              </c:tx>
              <c:dLblPos val="t"/>
              <c:showLegendKey val="0"/>
              <c:showVal val="1"/>
              <c:showCatName val="0"/>
              <c:showSerName val="0"/>
              <c:showPercent val="0"/>
              <c:showBubbleSize val="0"/>
            </c:dLbl>
            <c:dLbl>
              <c:idx val="9"/>
              <c:tx>
                <c:rich>
                  <a:bodyPr/>
                  <a:lstStyle/>
                  <a:p>
                    <a:r>
                      <a:t>88.11</a:t>
                    </a:r>
                  </a:p>
                </c:rich>
              </c:tx>
              <c:dLblPos val="t"/>
              <c:showLegendKey val="0"/>
              <c:showVal val="1"/>
              <c:showCatName val="0"/>
              <c:showSerName val="0"/>
              <c:showPercent val="0"/>
              <c:showBubbleSize val="0"/>
            </c:dLbl>
            <c:dLbl>
              <c:idx val="10"/>
              <c:tx>
                <c:rich>
                  <a:bodyPr/>
                  <a:lstStyle/>
                  <a:p>
                    <a:r>
                      <a:t>296.15</a:t>
                    </a:r>
                  </a:p>
                </c:rich>
              </c:tx>
              <c:dLblPos val="t"/>
              <c:showLegendKey val="0"/>
              <c:showVal val="1"/>
              <c:showCatName val="0"/>
              <c:showSerName val="0"/>
              <c:showPercent val="0"/>
              <c:showBubbleSize val="0"/>
            </c:dLbl>
            <c:dLbl>
              <c:idx val="11"/>
              <c:tx>
                <c:rich>
                  <a:bodyPr/>
                  <a:lstStyle/>
                  <a:p>
                    <a:r>
                      <a:t>190.97</a:t>
                    </a:r>
                  </a:p>
                </c:rich>
              </c:tx>
              <c:dLblPos val="t"/>
              <c:showLegendKey val="0"/>
              <c:showVal val="1"/>
              <c:showCatName val="0"/>
              <c:showSerName val="0"/>
              <c:showPercent val="0"/>
              <c:showBubbleSize val="0"/>
            </c:dLbl>
            <c:dLbl>
              <c:idx val="12"/>
              <c:tx>
                <c:rich>
                  <a:bodyPr/>
                  <a:lstStyle/>
                  <a:p>
                    <a:r>
                      <a:t>326.11</a:t>
                    </a:r>
                  </a:p>
                </c:rich>
              </c:tx>
              <c:dLblPos val="t"/>
              <c:showLegendKey val="0"/>
              <c:showVal val="1"/>
              <c:showCatName val="0"/>
              <c:showSerName val="0"/>
              <c:showPercent val="0"/>
              <c:showBubbleSize val="0"/>
            </c:dLbl>
            <c:dLbl>
              <c:idx val="13"/>
              <c:tx>
                <c:rich>
                  <a:bodyPr/>
                  <a:lstStyle/>
                  <a:p>
                    <a:r>
                      <a:t>287.71</a:t>
                    </a:r>
                  </a:p>
                </c:rich>
              </c:tx>
              <c:dLblPos val="t"/>
              <c:showLegendKey val="0"/>
              <c:showVal val="1"/>
              <c:showCatName val="0"/>
              <c:showSerName val="0"/>
              <c:showPercent val="0"/>
              <c:showBubbleSize val="0"/>
            </c:dLbl>
            <c:dLbl>
              <c:idx val="14"/>
              <c:tx>
                <c:rich>
                  <a:bodyPr/>
                  <a:lstStyle/>
                  <a:p>
                    <a:r>
                      <a:t>188.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Liquido 50 240Ml</c:v>
                </c:pt>
                <c:pt idx="3">
                  <c:v>Edgewell Hawaiian Tropic Island Sport Sunscreen Adults Sport Spray Liquido 50 220Ml</c:v>
                </c:pt>
                <c:pt idx="4">
                  <c:v>Edgewell Hawaiian Tropic Sheer Touch Sunscreen Adults Cosmetics Crema 50 120Ml</c:v>
                </c:pt>
                <c:pt idx="5">
                  <c:v>Edgewell Hawaiian Tropic Ozono Sunscreen Adults Cosmetics Spray Liquido 50+ 180Ml</c:v>
                </c:pt>
                <c:pt idx="6">
                  <c:v>Edgewell Hawaiian Tropic Ozono Sunscreen Adults Cosmetics Liquido 50+ 90Ml</c:v>
                </c:pt>
                <c:pt idx="7">
                  <c:v>Edgewell Hawaiian Tropic Sheer Touch Sunscreen Adults Cosmetics Crema 30 - 49 240Ml</c:v>
                </c:pt>
                <c:pt idx="8">
                  <c:v>Edgewell Hawaiian Tropic Silk Hydration Sunscreen Adults Cosmetics Liquido 50 180Ml</c:v>
                </c:pt>
                <c:pt idx="9">
                  <c:v>Edgewell Hawaiian Tropic Island Sport Sunscreen Adults Sport Liquido 50 60Ml</c:v>
                </c:pt>
                <c:pt idx="10">
                  <c:v>Edgewell Hawaiian Tropic Tanning Sunscreen Adults Cosmetics Spray Liquido 15 - 19 220Ml</c:v>
                </c:pt>
                <c:pt idx="11">
                  <c:v>Edgewell Hawaiian Tropic Ozono Sunscreen Adults Cosmetics Liquido 50+ 120Ml</c:v>
                </c:pt>
                <c:pt idx="12">
                  <c:v>Edgewell Hawaiian Tropic Silk Hydration Sunscreen Adults Cosmetics Spray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05.74</c:v>
                </c:pt>
                <c:pt idx="1">
                  <c:v>306.84</c:v>
                </c:pt>
                <c:pt idx="2">
                  <c:v>308.69</c:v>
                </c:pt>
                <c:pt idx="3">
                  <c:v>334.03</c:v>
                </c:pt>
                <c:pt idx="4">
                  <c:v>189.32</c:v>
                </c:pt>
                <c:pt idx="5">
                  <c:v>327.07</c:v>
                </c:pt>
                <c:pt idx="6">
                  <c:v>102.57</c:v>
                </c:pt>
                <c:pt idx="7">
                  <c:v>301.36</c:v>
                </c:pt>
                <c:pt idx="8">
                  <c:v>311.77</c:v>
                </c:pt>
                <c:pt idx="9">
                  <c:v>88.11</c:v>
                </c:pt>
                <c:pt idx="10">
                  <c:v>296.15</c:v>
                </c:pt>
                <c:pt idx="11">
                  <c:v>190.97</c:v>
                </c:pt>
                <c:pt idx="12">
                  <c:v>326.11</c:v>
                </c:pt>
                <c:pt idx="13">
                  <c:v>287.71</c:v>
                </c:pt>
                <c:pt idx="14">
                  <c:v>188.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8.07</a:t>
                    </a:r>
                  </a:p>
                </c:rich>
              </c:tx>
              <c:dLblPos val="t"/>
              <c:showLegendKey val="0"/>
              <c:showVal val="1"/>
              <c:showCatName val="0"/>
              <c:showSerName val="0"/>
              <c:showPercent val="0"/>
              <c:showBubbleSize val="0"/>
            </c:dLbl>
            <c:dLbl>
              <c:idx val="1"/>
              <c:tx>
                <c:rich>
                  <a:bodyPr/>
                  <a:lstStyle/>
                  <a:p>
                    <a:r>
                      <a:t>309.4</a:t>
                    </a:r>
                  </a:p>
                </c:rich>
              </c:tx>
              <c:dLblPos val="t"/>
              <c:showLegendKey val="0"/>
              <c:showVal val="1"/>
              <c:showCatName val="0"/>
              <c:showSerName val="0"/>
              <c:showPercent val="0"/>
              <c:showBubbleSize val="0"/>
            </c:dLbl>
            <c:dLbl>
              <c:idx val="2"/>
              <c:tx>
                <c:rich>
                  <a:bodyPr/>
                  <a:lstStyle/>
                  <a:p>
                    <a:r>
                      <a:t>268.08</a:t>
                    </a:r>
                  </a:p>
                </c:rich>
              </c:tx>
              <c:dLblPos val="t"/>
              <c:showLegendKey val="0"/>
              <c:showVal val="1"/>
              <c:showCatName val="0"/>
              <c:showSerName val="0"/>
              <c:showPercent val="0"/>
              <c:showBubbleSize val="0"/>
            </c:dLbl>
            <c:dLbl>
              <c:idx val="3"/>
              <c:tx>
                <c:rich>
                  <a:bodyPr/>
                  <a:lstStyle/>
                  <a:p>
                    <a:r>
                      <a:t>308.58</a:t>
                    </a:r>
                  </a:p>
                </c:rich>
              </c:tx>
              <c:dLblPos val="t"/>
              <c:showLegendKey val="0"/>
              <c:showVal val="1"/>
              <c:showCatName val="0"/>
              <c:showSerName val="0"/>
              <c:showPercent val="0"/>
              <c:showBubbleSize val="0"/>
            </c:dLbl>
            <c:dLbl>
              <c:idx val="4"/>
              <c:tx>
                <c:rich>
                  <a:bodyPr/>
                  <a:lstStyle/>
                  <a:p>
                    <a:r>
                      <a:t>305.0</a:t>
                    </a:r>
                  </a:p>
                </c:rich>
              </c:tx>
              <c:dLblPos val="t"/>
              <c:showLegendKey val="0"/>
              <c:showVal val="1"/>
              <c:showCatName val="0"/>
              <c:showSerName val="0"/>
              <c:showPercent val="0"/>
              <c:showBubbleSize val="0"/>
            </c:dLbl>
            <c:dLbl>
              <c:idx val="5"/>
              <c:tx>
                <c:rich>
                  <a:bodyPr/>
                  <a:lstStyle/>
                  <a:p>
                    <a:r>
                      <a:t>281.45</a:t>
                    </a:r>
                  </a:p>
                </c:rich>
              </c:tx>
              <c:dLblPos val="t"/>
              <c:showLegendKey val="0"/>
              <c:showVal val="1"/>
              <c:showCatName val="0"/>
              <c:showSerName val="0"/>
              <c:showPercent val="0"/>
              <c:showBubbleSize val="0"/>
            </c:dLbl>
            <c:dLbl>
              <c:idx val="6"/>
              <c:tx>
                <c:rich>
                  <a:bodyPr/>
                  <a:lstStyle/>
                  <a:p>
                    <a:r>
                      <a:t>254.7</a:t>
                    </a:r>
                  </a:p>
                </c:rich>
              </c:tx>
              <c:dLblPos val="t"/>
              <c:showLegendKey val="0"/>
              <c:showVal val="1"/>
              <c:showCatName val="0"/>
              <c:showSerName val="0"/>
              <c:showPercent val="0"/>
              <c:showBubbleSize val="0"/>
            </c:dLbl>
            <c:dLbl>
              <c:idx val="7"/>
              <c:tx>
                <c:rich>
                  <a:bodyPr/>
                  <a:lstStyle/>
                  <a:p>
                    <a:r>
                      <a:t>82.86</a:t>
                    </a:r>
                  </a:p>
                </c:rich>
              </c:tx>
              <c:dLblPos val="t"/>
              <c:showLegendKey val="0"/>
              <c:showVal val="1"/>
              <c:showCatName val="0"/>
              <c:showSerName val="0"/>
              <c:showPercent val="0"/>
              <c:showBubbleSize val="0"/>
            </c:dLbl>
            <c:dLbl>
              <c:idx val="8"/>
              <c:tx>
                <c:rich>
                  <a:bodyPr/>
                  <a:lstStyle/>
                  <a:p>
                    <a:r>
                      <a:t>319.36</a:t>
                    </a:r>
                  </a:p>
                </c:rich>
              </c:tx>
              <c:dLblPos val="t"/>
              <c:showLegendKey val="0"/>
              <c:showVal val="1"/>
              <c:showCatName val="0"/>
              <c:showSerName val="0"/>
              <c:showPercent val="0"/>
              <c:showBubbleSize val="0"/>
            </c:dLbl>
            <c:dLbl>
              <c:idx val="9"/>
              <c:tx>
                <c:rich>
                  <a:bodyPr/>
                  <a:lstStyle/>
                  <a:p>
                    <a:r>
                      <a:t>318.18</a:t>
                    </a:r>
                  </a:p>
                </c:rich>
              </c:tx>
              <c:dLblPos val="t"/>
              <c:showLegendKey val="0"/>
              <c:showVal val="1"/>
              <c:showCatName val="0"/>
              <c:showSerName val="0"/>
              <c:showPercent val="0"/>
              <c:showBubbleSize val="0"/>
            </c:dLbl>
            <c:dLbl>
              <c:idx val="10"/>
              <c:tx>
                <c:rich>
                  <a:bodyPr/>
                  <a:lstStyle/>
                  <a:p>
                    <a:r>
                      <a:t>312.27</a:t>
                    </a:r>
                  </a:p>
                </c:rich>
              </c:tx>
              <c:dLblPos val="t"/>
              <c:showLegendKey val="0"/>
              <c:showVal val="1"/>
              <c:showCatName val="0"/>
              <c:showSerName val="0"/>
              <c:showPercent val="0"/>
              <c:showBubbleSize val="0"/>
            </c:dLbl>
            <c:dLbl>
              <c:idx val="11"/>
              <c:tx>
                <c:rich>
                  <a:bodyPr/>
                  <a:lstStyle/>
                  <a:p>
                    <a:r>
                      <a:t>240.1</a:t>
                    </a:r>
                  </a:p>
                </c:rich>
              </c:tx>
              <c:dLblPos val="t"/>
              <c:showLegendKey val="0"/>
              <c:showVal val="1"/>
              <c:showCatName val="0"/>
              <c:showSerName val="0"/>
              <c:showPercent val="0"/>
              <c:showBubbleSize val="0"/>
            </c:dLbl>
            <c:dLbl>
              <c:idx val="12"/>
              <c:tx>
                <c:rich>
                  <a:bodyPr/>
                  <a:lstStyle/>
                  <a:p>
                    <a:r>
                      <a:t>292.13</a:t>
                    </a:r>
                  </a:p>
                </c:rich>
              </c:tx>
              <c:dLblPos val="t"/>
              <c:showLegendKey val="0"/>
              <c:showVal val="1"/>
              <c:showCatName val="0"/>
              <c:showSerName val="0"/>
              <c:showPercent val="0"/>
              <c:showBubbleSize val="0"/>
            </c:dLbl>
            <c:dLbl>
              <c:idx val="13"/>
              <c:tx>
                <c:rich>
                  <a:bodyPr/>
                  <a:lstStyle/>
                  <a:p>
                    <a:r>
                      <a:t>240.1</a:t>
                    </a:r>
                  </a:p>
                </c:rich>
              </c:tx>
              <c:dLblPos val="t"/>
              <c:showLegendKey val="0"/>
              <c:showVal val="1"/>
              <c:showCatName val="0"/>
              <c:showSerName val="0"/>
              <c:showPercent val="0"/>
              <c:showBubbleSize val="0"/>
            </c:dLbl>
            <c:dLbl>
              <c:idx val="14"/>
              <c:tx>
                <c:rich>
                  <a:bodyPr/>
                  <a:lstStyle/>
                  <a:p>
                    <a:r>
                      <a:t>147.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Aqua Protect Sunscreen Adults Cosmetics Spray Liquido 50+ 170Ml</c:v>
                </c:pt>
                <c:pt idx="4">
                  <c:v>Edgewell Banana Boat Dry Balance Sunscreen Adults Sport Spray Liquido 50 220Ml</c:v>
                </c:pt>
                <c:pt idx="5">
                  <c:v>Edgewell Banana Boat Advanced Protection Sunscreen Adults Cosmetics Liquido 50+ 240Ml</c:v>
                </c:pt>
                <c:pt idx="6">
                  <c:v>Edgewell Banana Boat Banded Pack Banded Pack 2X Sunscreen Multi 50+ 236Ml</c:v>
                </c:pt>
                <c:pt idx="7">
                  <c:v>Edgewell Banana Boat Advanced Protection Sunscreen Adults Cosmetics Liquido 50+ 60Ml</c:v>
                </c:pt>
                <c:pt idx="8">
                  <c:v>Edgewell Banana Boat Mineral Sunscreen Kids Cosmetics Locion 50 180Ml</c:v>
                </c:pt>
                <c:pt idx="9">
                  <c:v>Edgewell Banana Boat Mineral Sunscreen Adults Sport Locion 50 180Ml</c:v>
                </c:pt>
                <c:pt idx="10">
                  <c:v>Edgewell Banana Boat Mineral Sunscreen Adults Cosmetics Locion 50 180Ml</c:v>
                </c:pt>
                <c:pt idx="11">
                  <c:v>Edgewell Banana Boat Kids Sport Sunscreen Kids Cosmetics Crema 50 180Ml</c:v>
                </c:pt>
                <c:pt idx="12">
                  <c:v>Edgewell Banana Boat Dry Balance Sunscreen Adults Sport Crema 50+ 180Ml</c:v>
                </c:pt>
                <c:pt idx="13">
                  <c:v>Edgewell Banana Boat Advanced Protection Sunscreen Adults Cosmetics Liquido 50 180Ml</c:v>
                </c:pt>
                <c:pt idx="14">
                  <c:v>Edgewell Banana Boat After Sun After Sun Adults Cosmetics Gel 0 - 5 230Ml</c:v>
                </c:pt>
              </c:strCache>
            </c:strRef>
          </c:cat>
          <c:val>
            <c:numRef>
              <c:f>Sheet1!$B$2:$B$16</c:f>
              <c:numCache>
                <c:formatCode>General</c:formatCode>
                <c:ptCount val="15"/>
                <c:pt idx="0">
                  <c:v>278.07</c:v>
                </c:pt>
                <c:pt idx="1">
                  <c:v>309.4</c:v>
                </c:pt>
                <c:pt idx="2">
                  <c:v>268.08</c:v>
                </c:pt>
                <c:pt idx="3">
                  <c:v>308.58</c:v>
                </c:pt>
                <c:pt idx="4">
                  <c:v>305.0</c:v>
                </c:pt>
                <c:pt idx="5">
                  <c:v>281.45</c:v>
                </c:pt>
                <c:pt idx="6">
                  <c:v>254.7</c:v>
                </c:pt>
                <c:pt idx="7">
                  <c:v>82.86</c:v>
                </c:pt>
                <c:pt idx="8">
                  <c:v>319.36</c:v>
                </c:pt>
                <c:pt idx="9">
                  <c:v>318.18</c:v>
                </c:pt>
                <c:pt idx="10">
                  <c:v>312.27</c:v>
                </c:pt>
                <c:pt idx="11">
                  <c:v>240.1</c:v>
                </c:pt>
                <c:pt idx="12">
                  <c:v>292.13</c:v>
                </c:pt>
                <c:pt idx="13">
                  <c:v>240.1</c:v>
                </c:pt>
                <c:pt idx="14">
                  <c:v>147.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B$2:$B$8</c:f>
              <c:numCache>
                <c:formatCode>General</c:formatCode>
                <c:ptCount val="7"/>
                <c:pt idx="3">
                  <c:v>138.8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C$2:$C$8</c:f>
              <c:numCache>
                <c:formatCode>General</c:formatCode>
                <c:ptCount val="7"/>
                <c:pt idx="1">
                  <c:v>632.4877</c:v>
                </c:pt>
                <c:pt idx="2">
                  <c:v>792.0572</c:v>
                </c:pt>
                <c:pt idx="4">
                  <c:v>674.817</c:v>
                </c:pt>
                <c:pt idx="5">
                  <c:v>678.1587</c:v>
                </c:pt>
                <c:pt idx="6">
                  <c:v>743.03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D$2:$D$8</c:f>
              <c:numCache>
                <c:formatCode>General</c:formatCode>
                <c:ptCount val="7"/>
                <c:pt idx="0">
                  <c:v>395.63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E$2:$E$8</c:f>
              <c:numCache>
                <c:formatCode>General</c:formatCode>
                <c:ptCount val="7"/>
                <c:pt idx="4">
                  <c:v>682.81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F$2:$F$8</c:f>
              <c:numCache>
                <c:formatCode>General</c:formatCode>
                <c:ptCount val="7"/>
                <c:pt idx="2">
                  <c:v>521.7488</c:v>
                </c:pt>
                <c:pt idx="3">
                  <c:v>140.515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308.784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9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B$2:$B$10</c:f>
              <c:numCache>
                <c:formatCode>General</c:formatCode>
                <c:ptCount val="9"/>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C$2:$C$10</c:f>
              <c:numCache>
                <c:formatCode>General</c:formatCode>
                <c:ptCount val="9"/>
                <c:pt idx="1">
                  <c:v>96.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D$2:$D$10</c:f>
              <c:numCache>
                <c:formatCode>General</c:formatCode>
                <c:ptCount val="9"/>
                <c:pt idx="0">
                  <c:v>181.8237</c:v>
                </c:pt>
                <c:pt idx="1">
                  <c:v>208.25</c:v>
                </c:pt>
                <c:pt idx="5">
                  <c:v>229.35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E$2:$E$10</c:f>
              <c:numCache>
                <c:formatCode>General</c:formatCode>
                <c:ptCount val="9"/>
                <c:pt idx="6">
                  <c:v>143.35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F$2:$F$10</c:f>
              <c:numCache>
                <c:formatCode>General</c:formatCode>
                <c:ptCount val="9"/>
                <c:pt idx="4">
                  <c:v>684.73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G$2:$G$10</c:f>
              <c:numCache>
                <c:formatCode>General</c:formatCode>
                <c:ptCount val="9"/>
                <c:pt idx="1">
                  <c:v>234.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H$2:$H$10</c:f>
              <c:numCache>
                <c:formatCode>General</c:formatCode>
                <c:ptCount val="9"/>
                <c:pt idx="0">
                  <c:v>221.744</c:v>
                </c:pt>
                <c:pt idx="1">
                  <c:v>237.868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I$2:$I$10</c:f>
              <c:numCache>
                <c:formatCode>General</c:formatCode>
                <c:ptCount val="9"/>
                <c:pt idx="3">
                  <c:v>272.2743</c:v>
                </c:pt>
                <c:pt idx="4">
                  <c:v>718.8342</c:v>
                </c:pt>
                <c:pt idx="5">
                  <c:v>302.9132</c:v>
                </c:pt>
                <c:pt idx="6">
                  <c:v>131.4159</c:v>
                </c:pt>
                <c:pt idx="8">
                  <c:v>740.651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J$2:$J$10</c:f>
              <c:numCache>
                <c:formatCode>General</c:formatCode>
                <c:ptCount val="9"/>
                <c:pt idx="1">
                  <c:v>243.96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36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K$2:$K$10</c:f>
              <c:numCache>
                <c:formatCode>General</c:formatCode>
                <c:ptCount val="9"/>
                <c:pt idx="1">
                  <c:v>249.277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L$2:$L$10</c:f>
              <c:numCache>
                <c:formatCode>General</c:formatCode>
                <c:ptCount val="9"/>
                <c:pt idx="0">
                  <c:v>264.637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M$2:$M$10</c:f>
              <c:numCache>
                <c:formatCode>General</c:formatCode>
                <c:ptCount val="9"/>
                <c:pt idx="1">
                  <c:v>5.0</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N$2:$N$10</c:f>
              <c:numCache>
                <c:formatCode>General</c:formatCode>
                <c:ptCount val="9"/>
                <c:pt idx="3">
                  <c:v>263.8696</c:v>
                </c:pt>
                <c:pt idx="5">
                  <c:v>320.7362</c:v>
                </c:pt>
                <c:pt idx="6">
                  <c:v>522.401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O$2:$O$10</c:f>
              <c:numCache>
                <c:formatCode>General</c:formatCode>
                <c:ptCount val="9"/>
                <c:pt idx="2">
                  <c:v>616.9655</c:v>
                </c:pt>
                <c:pt idx="3">
                  <c:v>248.5054</c:v>
                </c:pt>
                <c:pt idx="4">
                  <c:v>631.1822</c:v>
                </c:pt>
                <c:pt idx="7">
                  <c:v>649.2944</c:v>
                </c:pt>
                <c:pt idx="8">
                  <c:v>677.646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P$2:$P$10</c:f>
              <c:numCache>
                <c:formatCode>General</c:formatCode>
                <c:ptCount val="9"/>
                <c:pt idx="1">
                  <c:v>43.5111</c:v>
                </c:pt>
                <c:pt idx="6">
                  <c:v>125.718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Avene</c:v>
                </c:pt>
                <c:pt idx="5">
                  <c:v>Neutrogena</c:v>
                </c:pt>
                <c:pt idx="6">
                  <c:v>Others Marca Unif.</c:v>
                </c:pt>
                <c:pt idx="7">
                  <c:v>La Roche-Posay</c:v>
                </c:pt>
                <c:pt idx="8">
                  <c:v>Eucerin</c:v>
                </c:pt>
              </c:strCache>
            </c:strRef>
          </c:cat>
          <c:val>
            <c:numRef>
              <c:f>Sheet1!$Q$2:$Q$10</c:f>
              <c:numCache>
                <c:formatCode>General</c:formatCode>
                <c:ptCount val="9"/>
                <c:pt idx="0">
                  <c:v>104.17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Others Marca Unif.</c:v>
                </c:pt>
              </c:strCache>
            </c:strRef>
          </c:cat>
          <c:val>
            <c:numRef>
              <c:f>Sheet1!$B$2:$B$3</c:f>
              <c:numCache>
                <c:formatCode>General</c:formatCode>
                <c:ptCount val="2"/>
                <c:pt idx="0">
                  <c:v>38.19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Others Marca Unif.</c:v>
                </c:pt>
              </c:strCache>
            </c:strRef>
          </c:cat>
          <c:val>
            <c:numRef>
              <c:f>Sheet1!$C$2:$C$3</c:f>
              <c:numCache>
                <c:formatCode>General</c:formatCode>
                <c:ptCount val="2"/>
                <c:pt idx="1">
                  <c:v>878.7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Isdin</c:v>
                </c:pt>
                <c:pt idx="3">
                  <c:v>Avene</c:v>
                </c:pt>
                <c:pt idx="4">
                  <c:v>Heliocare</c:v>
                </c:pt>
                <c:pt idx="5">
                  <c:v>Eucerin</c:v>
                </c:pt>
                <c:pt idx="6">
                  <c:v>Photoderm</c:v>
                </c:pt>
                <c:pt idx="7">
                  <c:v>Nivea</c:v>
                </c:pt>
                <c:pt idx="8">
                  <c:v>All Others</c:v>
                </c:pt>
              </c:strCache>
            </c:strRef>
          </c:cat>
          <c:val>
            <c:numRef>
              <c:f>Sheet1!$B$2:$B$10</c:f>
              <c:numCache>
                <c:formatCode>General</c:formatCode>
                <c:ptCount val="9"/>
                <c:pt idx="3">
                  <c:v>746.5879</c:v>
                </c:pt>
                <c:pt idx="6">
                  <c:v>605.5124</c:v>
                </c:pt>
                <c:pt idx="7">
                  <c:v>261.59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Isdin</c:v>
                </c:pt>
                <c:pt idx="3">
                  <c:v>Avene</c:v>
                </c:pt>
                <c:pt idx="4">
                  <c:v>Heliocare</c:v>
                </c:pt>
                <c:pt idx="5">
                  <c:v>Eucerin</c:v>
                </c:pt>
                <c:pt idx="6">
                  <c:v>Photoderm</c:v>
                </c:pt>
                <c:pt idx="7">
                  <c:v>Nivea</c:v>
                </c:pt>
                <c:pt idx="8">
                  <c:v>All Others</c:v>
                </c:pt>
              </c:strCache>
            </c:strRef>
          </c:cat>
          <c:val>
            <c:numRef>
              <c:f>Sheet1!$C$2:$C$10</c:f>
              <c:numCache>
                <c:formatCode>General</c:formatCode>
                <c:ptCount val="9"/>
                <c:pt idx="0">
                  <c:v>270.2126</c:v>
                </c:pt>
                <c:pt idx="1">
                  <c:v>614.136</c:v>
                </c:pt>
                <c:pt idx="2">
                  <c:v>645.8626</c:v>
                </c:pt>
                <c:pt idx="3">
                  <c:v>716.2055</c:v>
                </c:pt>
                <c:pt idx="4">
                  <c:v>646.5109</c:v>
                </c:pt>
                <c:pt idx="5">
                  <c:v>592.4227</c:v>
                </c:pt>
                <c:pt idx="8">
                  <c:v>580.378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B$2:$B$9</c:f>
              <c:numCache>
                <c:formatCode>General</c:formatCode>
                <c:ptCount val="8"/>
                <c:pt idx="7">
                  <c:v>495.24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C$2:$C$9</c:f>
              <c:numCache>
                <c:formatCode>General</c:formatCode>
                <c:ptCount val="8"/>
                <c:pt idx="0">
                  <c:v>271.45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D$2:$D$9</c:f>
              <c:numCache>
                <c:formatCode>General</c:formatCode>
                <c:ptCount val="8"/>
                <c:pt idx="0">
                  <c:v>276.357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E$2:$E$9</c:f>
              <c:numCache>
                <c:formatCode>General</c:formatCode>
                <c:ptCount val="8"/>
                <c:pt idx="1">
                  <c:v>631.294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F$2:$F$9</c:f>
              <c:numCache>
                <c:formatCode>General</c:formatCode>
                <c:ptCount val="8"/>
                <c:pt idx="5">
                  <c:v>721.4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G$2:$G$9</c:f>
              <c:numCache>
                <c:formatCode>General</c:formatCode>
                <c:ptCount val="8"/>
                <c:pt idx="2">
                  <c:v>623.3803</c:v>
                </c:pt>
                <c:pt idx="3">
                  <c:v>577.0901</c:v>
                </c:pt>
                <c:pt idx="4">
                  <c:v>619.45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H$2:$H$9</c:f>
              <c:numCache>
                <c:formatCode>General</c:formatCode>
                <c:ptCount val="8"/>
                <c:pt idx="6">
                  <c:v>599.8135</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Eucerin</c:v>
                </c:pt>
                <c:pt idx="1">
                  <c:v>Photoderm</c:v>
                </c:pt>
              </c:strCache>
            </c:strRef>
          </c:cat>
          <c:val>
            <c:numRef>
              <c:f>Sheet1!$B$2:$B$3</c:f>
              <c:numCache>
                <c:formatCode>General</c:formatCode>
                <c:ptCount val="2"/>
                <c:pt idx="0">
                  <c:v>626.18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Eucerin</c:v>
                </c:pt>
                <c:pt idx="1">
                  <c:v>Photoderm</c:v>
                </c:pt>
              </c:strCache>
            </c:strRef>
          </c:cat>
          <c:val>
            <c:numRef>
              <c:f>Sheet1!$C$2:$C$3</c:f>
              <c:numCache>
                <c:formatCode>General</c:formatCode>
                <c:ptCount val="2"/>
                <c:pt idx="1">
                  <c:v>788.7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Eucerin</c:v>
                </c:pt>
                <c:pt idx="1">
                  <c:v>Photoderm</c:v>
                </c:pt>
              </c:strCache>
            </c:strRef>
          </c:cat>
          <c:val>
            <c:numRef>
              <c:f>Sheet1!$D$2:$D$3</c:f>
              <c:numCache>
                <c:formatCode>General</c:formatCode>
                <c:ptCount val="2"/>
                <c:pt idx="0">
                  <c:v>690.458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B$2:$B$10</c:f>
              <c:numCache>
                <c:formatCode>General</c:formatCode>
                <c:ptCount val="9"/>
                <c:pt idx="0">
                  <c:v>263.2381</c:v>
                </c:pt>
                <c:pt idx="2">
                  <c:v>197.2434</c:v>
                </c:pt>
                <c:pt idx="6">
                  <c:v>608.76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C$2:$C$10</c:f>
              <c:numCache>
                <c:formatCode>General</c:formatCode>
                <c:ptCount val="9"/>
                <c:pt idx="1">
                  <c:v>394.3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D$2:$D$10</c:f>
              <c:numCache>
                <c:formatCode>General</c:formatCode>
                <c:ptCount val="9"/>
                <c:pt idx="0">
                  <c:v>184.1697</c:v>
                </c:pt>
                <c:pt idx="4">
                  <c:v>671.96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E$2:$E$10</c:f>
              <c:numCache>
                <c:formatCode>General</c:formatCode>
                <c:ptCount val="9"/>
                <c:pt idx="3">
                  <c:v>174.773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F$2:$F$10</c:f>
              <c:numCache>
                <c:formatCode>General</c:formatCode>
                <c:ptCount val="9"/>
                <c:pt idx="0">
                  <c:v>249.4224</c:v>
                </c:pt>
                <c:pt idx="8">
                  <c:v>606.622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G$2:$G$10</c:f>
              <c:numCache>
                <c:formatCode>General</c:formatCode>
                <c:ptCount val="9"/>
                <c:pt idx="1">
                  <c:v>279.38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H$2:$H$10</c:f>
              <c:numCache>
                <c:formatCode>General</c:formatCode>
                <c:ptCount val="9"/>
                <c:pt idx="0">
                  <c:v>243.7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I$2:$I$10</c:f>
              <c:numCache>
                <c:formatCode>General</c:formatCode>
                <c:ptCount val="9"/>
                <c:pt idx="0">
                  <c:v>267.1381</c:v>
                </c:pt>
                <c:pt idx="1">
                  <c:v>213.5184</c:v>
                </c:pt>
                <c:pt idx="2">
                  <c:v>522.289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J$2:$J$10</c:f>
              <c:numCache>
                <c:formatCode>General</c:formatCode>
                <c:ptCount val="9"/>
                <c:pt idx="3">
                  <c:v>277.1543</c:v>
                </c:pt>
                <c:pt idx="8">
                  <c:v>754.06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K$2:$K$10</c:f>
              <c:numCache>
                <c:formatCode>General</c:formatCode>
                <c:ptCount val="9"/>
                <c:pt idx="0">
                  <c:v>277.8749</c:v>
                </c:pt>
                <c:pt idx="1">
                  <c:v>279.72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L$2:$L$10</c:f>
              <c:numCache>
                <c:formatCode>General</c:formatCode>
                <c:ptCount val="9"/>
                <c:pt idx="1">
                  <c:v>117.0</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M$2:$M$10</c:f>
              <c:numCache>
                <c:formatCode>General</c:formatCode>
                <c:ptCount val="9"/>
                <c:pt idx="0">
                  <c:v>263.7315</c:v>
                </c:pt>
                <c:pt idx="1">
                  <c:v>239.44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N$2:$N$10</c:f>
              <c:numCache>
                <c:formatCode>General</c:formatCode>
                <c:ptCount val="9"/>
                <c:pt idx="7">
                  <c:v>1132.667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O$2:$O$10</c:f>
              <c:numCache>
                <c:formatCode>General</c:formatCode>
                <c:ptCount val="9"/>
                <c:pt idx="5">
                  <c:v>242.578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P$2:$P$10</c:f>
              <c:numCache>
                <c:formatCode>General</c:formatCode>
                <c:ptCount val="9"/>
                <c:pt idx="0">
                  <c:v>231.5438</c:v>
                </c:pt>
                <c:pt idx="2">
                  <c:v>208.5341</c:v>
                </c:pt>
                <c:pt idx="4">
                  <c:v>995.1473</c:v>
                </c:pt>
                <c:pt idx="6">
                  <c:v>657.1194</c:v>
                </c:pt>
                <c:pt idx="7">
                  <c:v>626.859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Q$2:$Q$10</c:f>
              <c:numCache>
                <c:formatCode>General</c:formatCode>
                <c:ptCount val="9"/>
                <c:pt idx="0">
                  <c:v>91.6395</c:v>
                </c:pt>
                <c:pt idx="1">
                  <c:v>75.88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R$2:$R$10</c:f>
              <c:numCache>
                <c:formatCode>General</c:formatCode>
                <c:ptCount val="9"/>
                <c:pt idx="0">
                  <c:v>97.1133</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B$2:$B$8</c:f>
              <c:numCache>
                <c:formatCode>General</c:formatCode>
                <c:ptCount val="7"/>
                <c:pt idx="4">
                  <c:v>159.2546</c:v>
                </c:pt>
                <c:pt idx="5">
                  <c:v>430.86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C$2:$C$8</c:f>
              <c:numCache>
                <c:formatCode>General</c:formatCode>
                <c:ptCount val="7"/>
                <c:pt idx="0">
                  <c:v>139.79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D$2:$D$8</c:f>
              <c:numCache>
                <c:formatCode>General</c:formatCode>
                <c:ptCount val="7"/>
                <c:pt idx="0">
                  <c:v>277.324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E$2:$E$8</c:f>
              <c:numCache>
                <c:formatCode>General</c:formatCode>
                <c:ptCount val="7"/>
                <c:pt idx="0">
                  <c:v>287.567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F$2:$F$8</c:f>
              <c:numCache>
                <c:formatCode>General</c:formatCode>
                <c:ptCount val="7"/>
                <c:pt idx="1">
                  <c:v>586.5735</c:v>
                </c:pt>
                <c:pt idx="3">
                  <c:v>717.0603</c:v>
                </c:pt>
                <c:pt idx="4">
                  <c:v>291.54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G$2:$G$8</c:f>
              <c:numCache>
                <c:formatCode>General</c:formatCode>
                <c:ptCount val="7"/>
                <c:pt idx="0">
                  <c:v>236.08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H$2:$H$8</c:f>
              <c:numCache>
                <c:formatCode>General</c:formatCode>
                <c:ptCount val="7"/>
                <c:pt idx="1">
                  <c:v>634.0415</c:v>
                </c:pt>
                <c:pt idx="6">
                  <c:v>261.69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I$2:$I$8</c:f>
              <c:numCache>
                <c:formatCode>General</c:formatCode>
                <c:ptCount val="7"/>
                <c:pt idx="0">
                  <c:v>38.356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J$2:$J$8</c:f>
              <c:numCache>
                <c:formatCode>General</c:formatCode>
                <c:ptCount val="7"/>
                <c:pt idx="5">
                  <c:v>387.624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K$2:$K$8</c:f>
              <c:numCache>
                <c:formatCode>General</c:formatCode>
                <c:ptCount val="7"/>
                <c:pt idx="0">
                  <c:v>107.2102</c:v>
                </c:pt>
                <c:pt idx="2">
                  <c:v>279.191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5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L$2:$L$8</c:f>
              <c:numCache>
                <c:formatCode>General</c:formatCode>
                <c:ptCount val="7"/>
                <c:pt idx="3">
                  <c:v>502.157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9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Sun &amp; Skin Care Research: All Others</c:v>
                </c:pt>
              </c:strCache>
            </c:strRef>
          </c:cat>
          <c:val>
            <c:numRef>
              <c:f>Sheet1!$M$2:$M$8</c:f>
              <c:numCache>
                <c:formatCode>General</c:formatCode>
                <c:ptCount val="7"/>
                <c:pt idx="6">
                  <c:v>168.3997</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498.214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35</a:t>
                    </a:r>
                  </a:p>
                </c:rich>
              </c:tx>
              <c:dLblPos val="t"/>
              <c:showLegendKey val="0"/>
              <c:showVal val="1"/>
              <c:showCatName val="0"/>
              <c:showSerName val="0"/>
              <c:showPercent val="0"/>
              <c:showBubbleSize val="0"/>
            </c:dLbl>
            <c:dLbl>
              <c:idx val="1"/>
              <c:tx>
                <c:rich>
                  <a:bodyPr/>
                  <a:lstStyle/>
                  <a:p>
                    <a:r>
                      <a:t>320.31</a:t>
                    </a:r>
                  </a:p>
                </c:rich>
              </c:tx>
              <c:dLblPos val="t"/>
              <c:showLegendKey val="0"/>
              <c:showVal val="1"/>
              <c:showCatName val="0"/>
              <c:showSerName val="0"/>
              <c:showPercent val="0"/>
              <c:showBubbleSize val="0"/>
            </c:dLbl>
            <c:dLbl>
              <c:idx val="2"/>
              <c:tx>
                <c:rich>
                  <a:bodyPr/>
                  <a:lstStyle/>
                  <a:p>
                    <a:r>
                      <a:t>274.64</a:t>
                    </a:r>
                  </a:p>
                </c:rich>
              </c:tx>
              <c:dLblPos val="t"/>
              <c:showLegendKey val="0"/>
              <c:showVal val="1"/>
              <c:showCatName val="0"/>
              <c:showSerName val="0"/>
              <c:showPercent val="0"/>
              <c:showBubbleSize val="0"/>
            </c:dLbl>
            <c:dLbl>
              <c:idx val="3"/>
              <c:tx>
                <c:rich>
                  <a:bodyPr/>
                  <a:lstStyle/>
                  <a:p>
                    <a:r>
                      <a:t>312.46</a:t>
                    </a:r>
                  </a:p>
                </c:rich>
              </c:tx>
              <c:dLblPos val="t"/>
              <c:showLegendKey val="0"/>
              <c:showVal val="1"/>
              <c:showCatName val="0"/>
              <c:showSerName val="0"/>
              <c:showPercent val="0"/>
              <c:showBubbleSize val="0"/>
            </c:dLbl>
            <c:dLbl>
              <c:idx val="4"/>
              <c:tx>
                <c:rich>
                  <a:bodyPr/>
                  <a:lstStyle/>
                  <a:p>
                    <a:r>
                      <a:t>314.98</a:t>
                    </a:r>
                  </a:p>
                </c:rich>
              </c:tx>
              <c:dLblPos val="t"/>
              <c:showLegendKey val="0"/>
              <c:showVal val="1"/>
              <c:showCatName val="0"/>
              <c:showSerName val="0"/>
              <c:showPercent val="0"/>
              <c:showBubbleSize val="0"/>
            </c:dLbl>
            <c:dLbl>
              <c:idx val="5"/>
              <c:tx>
                <c:rich>
                  <a:bodyPr/>
                  <a:lstStyle/>
                  <a:p>
                    <a:r>
                      <a:t>286.78</a:t>
                    </a:r>
                  </a:p>
                </c:rich>
              </c:tx>
              <c:dLblPos val="t"/>
              <c:showLegendKey val="0"/>
              <c:showVal val="1"/>
              <c:showCatName val="0"/>
              <c:showSerName val="0"/>
              <c:showPercent val="0"/>
              <c:showBubbleSize val="0"/>
            </c:dLbl>
            <c:dLbl>
              <c:idx val="6"/>
              <c:tx>
                <c:rich>
                  <a:bodyPr/>
                  <a:lstStyle/>
                  <a:p>
                    <a:r>
                      <a:t>266.75</a:t>
                    </a:r>
                  </a:p>
                </c:rich>
              </c:tx>
              <c:dLblPos val="t"/>
              <c:showLegendKey val="0"/>
              <c:showVal val="1"/>
              <c:showCatName val="0"/>
              <c:showSerName val="0"/>
              <c:showPercent val="0"/>
              <c:showBubbleSize val="0"/>
            </c:dLbl>
            <c:dLbl>
              <c:idx val="7"/>
              <c:tx>
                <c:rich>
                  <a:bodyPr/>
                  <a:lstStyle/>
                  <a:p>
                    <a:r>
                      <a:t>84.58</a:t>
                    </a:r>
                  </a:p>
                </c:rich>
              </c:tx>
              <c:dLblPos val="t"/>
              <c:showLegendKey val="0"/>
              <c:showVal val="1"/>
              <c:showCatName val="0"/>
              <c:showSerName val="0"/>
              <c:showPercent val="0"/>
              <c:showBubbleSize val="0"/>
            </c:dLbl>
            <c:dLbl>
              <c:idx val="8"/>
              <c:tx>
                <c:rich>
                  <a:bodyPr/>
                  <a:lstStyle/>
                  <a:p>
                    <a:r>
                      <a:t>324.32</a:t>
                    </a:r>
                  </a:p>
                </c:rich>
              </c:tx>
              <c:dLblPos val="t"/>
              <c:showLegendKey val="0"/>
              <c:showVal val="1"/>
              <c:showCatName val="0"/>
              <c:showSerName val="0"/>
              <c:showPercent val="0"/>
              <c:showBubbleSize val="0"/>
            </c:dLbl>
            <c:dLbl>
              <c:idx val="9"/>
              <c:tx>
                <c:rich>
                  <a:bodyPr/>
                  <a:lstStyle/>
                  <a:p>
                    <a:r>
                      <a:t>320.29</a:t>
                    </a:r>
                  </a:p>
                </c:rich>
              </c:tx>
              <c:dLblPos val="t"/>
              <c:showLegendKey val="0"/>
              <c:showVal val="1"/>
              <c:showCatName val="0"/>
              <c:showSerName val="0"/>
              <c:showPercent val="0"/>
              <c:showBubbleSize val="0"/>
            </c:dLbl>
            <c:dLbl>
              <c:idx val="10"/>
              <c:tx>
                <c:rich>
                  <a:bodyPr/>
                  <a:lstStyle/>
                  <a:p>
                    <a:r>
                      <a:t>318.51</a:t>
                    </a:r>
                  </a:p>
                </c:rich>
              </c:tx>
              <c:dLblPos val="t"/>
              <c:showLegendKey val="0"/>
              <c:showVal val="1"/>
              <c:showCatName val="0"/>
              <c:showSerName val="0"/>
              <c:showPercent val="0"/>
              <c:showBubbleSize val="0"/>
            </c:dLbl>
            <c:dLbl>
              <c:idx val="11"/>
              <c:tx>
                <c:rich>
                  <a:bodyPr/>
                  <a:lstStyle/>
                  <a:p>
                    <a:r>
                      <a:t>256.79</a:t>
                    </a:r>
                  </a:p>
                </c:rich>
              </c:tx>
              <c:dLblPos val="t"/>
              <c:showLegendKey val="0"/>
              <c:showVal val="1"/>
              <c:showCatName val="0"/>
              <c:showSerName val="0"/>
              <c:showPercent val="0"/>
              <c:showBubbleSize val="0"/>
            </c:dLbl>
            <c:dLbl>
              <c:idx val="12"/>
              <c:tx>
                <c:rich>
                  <a:bodyPr/>
                  <a:lstStyle/>
                  <a:p>
                    <a:r>
                      <a:t>303.02</a:t>
                    </a:r>
                  </a:p>
                </c:rich>
              </c:tx>
              <c:dLblPos val="t"/>
              <c:showLegendKey val="0"/>
              <c:showVal val="1"/>
              <c:showCatName val="0"/>
              <c:showSerName val="0"/>
              <c:showPercent val="0"/>
              <c:showBubbleSize val="0"/>
            </c:dLbl>
            <c:dLbl>
              <c:idx val="13"/>
              <c:tx>
                <c:rich>
                  <a:bodyPr/>
                  <a:lstStyle/>
                  <a:p>
                    <a:r>
                      <a:t>247.77</a:t>
                    </a:r>
                  </a:p>
                </c:rich>
              </c:tx>
              <c:dLblPos val="t"/>
              <c:showLegendKey val="0"/>
              <c:showVal val="1"/>
              <c:showCatName val="0"/>
              <c:showSerName val="0"/>
              <c:showPercent val="0"/>
              <c:showBubbleSize val="0"/>
            </c:dLbl>
            <c:dLbl>
              <c:idx val="14"/>
              <c:tx>
                <c:rich>
                  <a:bodyPr/>
                  <a:lstStyle/>
                  <a:p>
                    <a:r>
                      <a:t>148.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Aqua Protect Sunscreen Adults Cosmetics Spray Liquido 50+ 170Ml</c:v>
                </c:pt>
                <c:pt idx="4">
                  <c:v>Edgewell Banana Boat Dry Balance Sunscreen Adults Sport Spray Liquido 50 220Ml</c:v>
                </c:pt>
                <c:pt idx="5">
                  <c:v>Edgewell Banana Boat Advanced Protection Sunscreen Adults Cosmetics Liquido 50+ 240Ml</c:v>
                </c:pt>
                <c:pt idx="6">
                  <c:v>Edgewell Banana Boat Banded Pack Banded Pack 2X Sunscreen Multi 50+ 236Ml</c:v>
                </c:pt>
                <c:pt idx="7">
                  <c:v>Edgewell Banana Boat Advanced Protection Sunscreen Adults Cosmetics Liquido 50+ 60Ml</c:v>
                </c:pt>
                <c:pt idx="8">
                  <c:v>Edgewell Banana Boat Mineral Sunscreen Kids Cosmetics Locion 50 180Ml</c:v>
                </c:pt>
                <c:pt idx="9">
                  <c:v>Edgewell Banana Boat Mineral Sunscreen Adults Sport Locion 50 180Ml</c:v>
                </c:pt>
                <c:pt idx="10">
                  <c:v>Edgewell Banana Boat Mineral Sunscreen Adults Cosmetics Locion 50 180Ml</c:v>
                </c:pt>
                <c:pt idx="11">
                  <c:v>Edgewell Banana Boat Kids Sport Sunscreen Kids Cosmetics Crema 50 180Ml</c:v>
                </c:pt>
                <c:pt idx="12">
                  <c:v>Edgewell Banana Boat Dry Balance Sunscreen Adults Sport Crema 50+ 180Ml</c:v>
                </c:pt>
                <c:pt idx="13">
                  <c:v>Edgewell Banana Boat Advanced Protection Sunscreen Adults Cosmetics Liquido 50 180Ml</c:v>
                </c:pt>
                <c:pt idx="14">
                  <c:v>Edgewell Banana Boat After Sun After Sun Adults Cosmetics Gel 0 - 5 230Ml</c:v>
                </c:pt>
              </c:strCache>
            </c:strRef>
          </c:cat>
          <c:val>
            <c:numRef>
              <c:f>Sheet1!$B$2:$B$16</c:f>
              <c:numCache>
                <c:formatCode>General</c:formatCode>
                <c:ptCount val="15"/>
                <c:pt idx="0">
                  <c:v>286.35</c:v>
                </c:pt>
                <c:pt idx="1">
                  <c:v>320.31</c:v>
                </c:pt>
                <c:pt idx="2">
                  <c:v>274.64</c:v>
                </c:pt>
                <c:pt idx="3">
                  <c:v>312.46</c:v>
                </c:pt>
                <c:pt idx="4">
                  <c:v>314.98</c:v>
                </c:pt>
                <c:pt idx="5">
                  <c:v>286.78</c:v>
                </c:pt>
                <c:pt idx="6">
                  <c:v>266.75</c:v>
                </c:pt>
                <c:pt idx="7">
                  <c:v>84.58</c:v>
                </c:pt>
                <c:pt idx="8">
                  <c:v>324.32</c:v>
                </c:pt>
                <c:pt idx="9">
                  <c:v>320.29</c:v>
                </c:pt>
                <c:pt idx="10">
                  <c:v>318.51</c:v>
                </c:pt>
                <c:pt idx="11">
                  <c:v>256.79</c:v>
                </c:pt>
                <c:pt idx="12">
                  <c:v>303.02</c:v>
                </c:pt>
                <c:pt idx="13">
                  <c:v>247.77</c:v>
                </c:pt>
                <c:pt idx="14">
                  <c:v>148.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06.140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arnier</c:v>
                </c:pt>
                <c:pt idx="1">
                  <c:v>Others Marca Unif.</c:v>
                </c:pt>
              </c:strCache>
            </c:strRef>
          </c:cat>
          <c:val>
            <c:numRef>
              <c:f>Sheet1!$B$2:$B$3</c:f>
              <c:numCache>
                <c:formatCode>General</c:formatCode>
                <c:ptCount val="2"/>
                <c:pt idx="0">
                  <c:v>215.0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Garnier</c:v>
                </c:pt>
                <c:pt idx="1">
                  <c:v>Others Marca Unif.</c:v>
                </c:pt>
              </c:strCache>
            </c:strRef>
          </c:cat>
          <c:val>
            <c:numRef>
              <c:f>Sheet1!$C$2:$C$3</c:f>
              <c:numCache>
                <c:formatCode>General</c:formatCode>
                <c:ptCount val="2"/>
                <c:pt idx="1">
                  <c:v>601.309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Photoderm</c:v>
                </c:pt>
                <c:pt idx="2">
                  <c:v>La Roche-Posay</c:v>
                </c:pt>
                <c:pt idx="3">
                  <c:v>Australian Gold</c:v>
                </c:pt>
                <c:pt idx="4">
                  <c:v>Genove</c:v>
                </c:pt>
                <c:pt idx="5">
                  <c:v>Ocean Potion</c:v>
                </c:pt>
                <c:pt idx="6">
                  <c:v>Others Marca Unif.</c:v>
                </c:pt>
              </c:strCache>
            </c:strRef>
          </c:cat>
          <c:val>
            <c:numRef>
              <c:f>Sheet1!$B$2:$B$8</c:f>
              <c:numCache>
                <c:formatCode>General</c:formatCode>
                <c:ptCount val="7"/>
                <c:pt idx="4">
                  <c:v>605.376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Photoderm</c:v>
                </c:pt>
                <c:pt idx="2">
                  <c:v>La Roche-Posay</c:v>
                </c:pt>
                <c:pt idx="3">
                  <c:v>Australian Gold</c:v>
                </c:pt>
                <c:pt idx="4">
                  <c:v>Genove</c:v>
                </c:pt>
                <c:pt idx="5">
                  <c:v>Ocean Potion</c:v>
                </c:pt>
                <c:pt idx="6">
                  <c:v>Others Marca Unif.</c:v>
                </c:pt>
              </c:strCache>
            </c:strRef>
          </c:cat>
          <c:val>
            <c:numRef>
              <c:f>Sheet1!$C$2:$C$8</c:f>
              <c:numCache>
                <c:formatCode>General</c:formatCode>
                <c:ptCount val="7"/>
                <c:pt idx="1">
                  <c:v>705.41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6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Photoderm</c:v>
                </c:pt>
                <c:pt idx="2">
                  <c:v>La Roche-Posay</c:v>
                </c:pt>
                <c:pt idx="3">
                  <c:v>Australian Gold</c:v>
                </c:pt>
                <c:pt idx="4">
                  <c:v>Genove</c:v>
                </c:pt>
                <c:pt idx="5">
                  <c:v>Ocean Potion</c:v>
                </c:pt>
                <c:pt idx="6">
                  <c:v>Others Marca Unif.</c:v>
                </c:pt>
              </c:strCache>
            </c:strRef>
          </c:cat>
          <c:val>
            <c:numRef>
              <c:f>Sheet1!$D$2:$D$8</c:f>
              <c:numCache>
                <c:formatCode>General</c:formatCode>
                <c:ptCount val="7"/>
                <c:pt idx="5">
                  <c:v>317.80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Photoderm</c:v>
                </c:pt>
                <c:pt idx="2">
                  <c:v>La Roche-Posay</c:v>
                </c:pt>
                <c:pt idx="3">
                  <c:v>Australian Gold</c:v>
                </c:pt>
                <c:pt idx="4">
                  <c:v>Genove</c:v>
                </c:pt>
                <c:pt idx="5">
                  <c:v>Ocean Potion</c:v>
                </c:pt>
                <c:pt idx="6">
                  <c:v>Others Marca Unif.</c:v>
                </c:pt>
              </c:strCache>
            </c:strRef>
          </c:cat>
          <c:val>
            <c:numRef>
              <c:f>Sheet1!$E$2:$E$8</c:f>
              <c:numCache>
                <c:formatCode>General</c:formatCode>
                <c:ptCount val="7"/>
                <c:pt idx="0">
                  <c:v>213.7982</c:v>
                </c:pt>
                <c:pt idx="3">
                  <c:v>357.1355</c:v>
                </c:pt>
                <c:pt idx="6">
                  <c:v>148.914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Photoderm</c:v>
                </c:pt>
                <c:pt idx="2">
                  <c:v>La Roche-Posay</c:v>
                </c:pt>
                <c:pt idx="3">
                  <c:v>Australian Gold</c:v>
                </c:pt>
                <c:pt idx="4">
                  <c:v>Genove</c:v>
                </c:pt>
                <c:pt idx="5">
                  <c:v>Ocean Potion</c:v>
                </c:pt>
                <c:pt idx="6">
                  <c:v>Others Marca Unif.</c:v>
                </c:pt>
              </c:strCache>
            </c:strRef>
          </c:cat>
          <c:val>
            <c:numRef>
              <c:f>Sheet1!$F$2:$F$8</c:f>
              <c:numCache>
                <c:formatCode>General</c:formatCode>
                <c:ptCount val="7"/>
                <c:pt idx="1">
                  <c:v>826.0409</c:v>
                </c:pt>
                <c:pt idx="2">
                  <c:v>975.346</c:v>
                </c:pt>
                <c:pt idx="6">
                  <c:v>224.68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Photoderm</c:v>
                </c:pt>
                <c:pt idx="2">
                  <c:v>La Roche-Posay</c:v>
                </c:pt>
                <c:pt idx="3">
                  <c:v>Australian Gold</c:v>
                </c:pt>
                <c:pt idx="4">
                  <c:v>Genove</c:v>
                </c:pt>
                <c:pt idx="5">
                  <c:v>Ocean Potion</c:v>
                </c:pt>
                <c:pt idx="6">
                  <c:v>Others Marca Unif.</c:v>
                </c:pt>
              </c:strCache>
            </c:strRef>
          </c:cat>
          <c:val>
            <c:numRef>
              <c:f>Sheet1!$G$2:$G$8</c:f>
              <c:numCache>
                <c:formatCode>General</c:formatCode>
                <c:ptCount val="7"/>
                <c:pt idx="1">
                  <c:v>718.061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Photoderm</c:v>
                </c:pt>
                <c:pt idx="2">
                  <c:v>La Roche-Posay</c:v>
                </c:pt>
                <c:pt idx="3">
                  <c:v>Australian Gold</c:v>
                </c:pt>
                <c:pt idx="4">
                  <c:v>Genove</c:v>
                </c:pt>
                <c:pt idx="5">
                  <c:v>Ocean Potion</c:v>
                </c:pt>
                <c:pt idx="6">
                  <c:v>Others Marca Unif.</c:v>
                </c:pt>
              </c:strCache>
            </c:strRef>
          </c:cat>
          <c:val>
            <c:numRef>
              <c:f>Sheet1!$H$2:$H$8</c:f>
              <c:numCache>
                <c:formatCode>General</c:formatCode>
                <c:ptCount val="7"/>
                <c:pt idx="0">
                  <c:v>302.746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Photoderm</c:v>
                </c:pt>
                <c:pt idx="2">
                  <c:v>La Roche-Posay</c:v>
                </c:pt>
                <c:pt idx="3">
                  <c:v>Australian Gold</c:v>
                </c:pt>
                <c:pt idx="4">
                  <c:v>Genove</c:v>
                </c:pt>
                <c:pt idx="5">
                  <c:v>Ocean Potion</c:v>
                </c:pt>
                <c:pt idx="6">
                  <c:v>Others Marca Unif.</c:v>
                </c:pt>
              </c:strCache>
            </c:strRef>
          </c:cat>
          <c:val>
            <c:numRef>
              <c:f>Sheet1!$I$2:$I$8</c:f>
              <c:numCache>
                <c:formatCode>General</c:formatCode>
                <c:ptCount val="7"/>
                <c:pt idx="1">
                  <c:v>625.601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sdin</c:v>
                </c:pt>
                <c:pt idx="1">
                  <c:v>Heliocare</c:v>
                </c:pt>
                <c:pt idx="2">
                  <c:v>Others Marca Unif.</c:v>
                </c:pt>
                <c:pt idx="3">
                  <c:v>Neutrogena</c:v>
                </c:pt>
              </c:strCache>
            </c:strRef>
          </c:cat>
          <c:val>
            <c:numRef>
              <c:f>Sheet1!$B$2:$B$5</c:f>
              <c:numCache>
                <c:formatCode>General</c:formatCode>
                <c:ptCount val="4"/>
                <c:pt idx="0">
                  <c:v>475.4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Isdin</c:v>
                </c:pt>
                <c:pt idx="1">
                  <c:v>Heliocare</c:v>
                </c:pt>
                <c:pt idx="2">
                  <c:v>Others Marca Unif.</c:v>
                </c:pt>
                <c:pt idx="3">
                  <c:v>Neutrogena</c:v>
                </c:pt>
              </c:strCache>
            </c:strRef>
          </c:cat>
          <c:val>
            <c:numRef>
              <c:f>Sheet1!$C$2:$C$5</c:f>
              <c:numCache>
                <c:formatCode>General</c:formatCode>
                <c:ptCount val="4"/>
                <c:pt idx="2">
                  <c:v>338.2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9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Heliocare</c:v>
                </c:pt>
                <c:pt idx="2">
                  <c:v>Others Marca Unif.</c:v>
                </c:pt>
                <c:pt idx="3">
                  <c:v>Neutrogena</c:v>
                </c:pt>
              </c:strCache>
            </c:strRef>
          </c:cat>
          <c:val>
            <c:numRef>
              <c:f>Sheet1!$D$2:$D$5</c:f>
              <c:numCache>
                <c:formatCode>General</c:formatCode>
                <c:ptCount val="4"/>
                <c:pt idx="2">
                  <c:v>582.89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Heliocare</c:v>
                </c:pt>
                <c:pt idx="2">
                  <c:v>Others Marca Unif.</c:v>
                </c:pt>
                <c:pt idx="3">
                  <c:v>Neutrogena</c:v>
                </c:pt>
              </c:strCache>
            </c:strRef>
          </c:cat>
          <c:val>
            <c:numRef>
              <c:f>Sheet1!$E$2:$E$5</c:f>
              <c:numCache>
                <c:formatCode>General</c:formatCode>
                <c:ptCount val="4"/>
                <c:pt idx="2">
                  <c:v>254.40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Isdin</c:v>
                </c:pt>
                <c:pt idx="1">
                  <c:v>Heliocare</c:v>
                </c:pt>
                <c:pt idx="2">
                  <c:v>Others Marca Unif.</c:v>
                </c:pt>
                <c:pt idx="3">
                  <c:v>Neutrogena</c:v>
                </c:pt>
              </c:strCache>
            </c:strRef>
          </c:cat>
          <c:val>
            <c:numRef>
              <c:f>Sheet1!$F$2:$F$5</c:f>
              <c:numCache>
                <c:formatCode>General</c:formatCode>
                <c:ptCount val="4"/>
                <c:pt idx="1">
                  <c:v>550.435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sdin</c:v>
                </c:pt>
                <c:pt idx="1">
                  <c:v>Heliocare</c:v>
                </c:pt>
                <c:pt idx="2">
                  <c:v>Others Marca Unif.</c:v>
                </c:pt>
                <c:pt idx="3">
                  <c:v>Neutrogena</c:v>
                </c:pt>
              </c:strCache>
            </c:strRef>
          </c:cat>
          <c:val>
            <c:numRef>
              <c:f>Sheet1!$G$2:$G$5</c:f>
              <c:numCache>
                <c:formatCode>General</c:formatCode>
                <c:ptCount val="4"/>
                <c:pt idx="2">
                  <c:v>794.356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2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sdin</c:v>
                </c:pt>
                <c:pt idx="1">
                  <c:v>Heliocare</c:v>
                </c:pt>
                <c:pt idx="2">
                  <c:v>Others Marca Unif.</c:v>
                </c:pt>
                <c:pt idx="3">
                  <c:v>Neutrogena</c:v>
                </c:pt>
              </c:strCache>
            </c:strRef>
          </c:cat>
          <c:val>
            <c:numRef>
              <c:f>Sheet1!$H$2:$H$5</c:f>
              <c:numCache>
                <c:formatCode>General</c:formatCode>
                <c:ptCount val="4"/>
                <c:pt idx="3">
                  <c:v>350.092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B$2:$B$8</c:f>
              <c:numCache>
                <c:formatCode>General</c:formatCode>
                <c:ptCount val="7"/>
                <c:pt idx="3">
                  <c:v>140.54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C$2:$C$8</c:f>
              <c:numCache>
                <c:formatCode>General</c:formatCode>
                <c:ptCount val="7"/>
                <c:pt idx="1">
                  <c:v>637.7179</c:v>
                </c:pt>
                <c:pt idx="2">
                  <c:v>831.2185</c:v>
                </c:pt>
                <c:pt idx="4">
                  <c:v>697.7107</c:v>
                </c:pt>
                <c:pt idx="5">
                  <c:v>704.7175</c:v>
                </c:pt>
                <c:pt idx="6">
                  <c:v>781.25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D$2:$D$8</c:f>
              <c:numCache>
                <c:formatCode>General</c:formatCode>
                <c:ptCount val="7"/>
                <c:pt idx="0">
                  <c:v>395.63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E$2:$E$8</c:f>
              <c:numCache>
                <c:formatCode>General</c:formatCode>
                <c:ptCount val="7"/>
                <c:pt idx="4">
                  <c:v>715.28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La Roche-Posay</c:v>
                </c:pt>
                <c:pt idx="3">
                  <c:v>Others Marca Unif.</c:v>
                </c:pt>
                <c:pt idx="4">
                  <c:v>Vichy</c:v>
                </c:pt>
                <c:pt idx="5">
                  <c:v>Heliocare</c:v>
                </c:pt>
                <c:pt idx="6">
                  <c:v>Avene</c:v>
                </c:pt>
              </c:strCache>
            </c:strRef>
          </c:cat>
          <c:val>
            <c:numRef>
              <c:f>Sheet1!$F$2:$F$8</c:f>
              <c:numCache>
                <c:formatCode>General</c:formatCode>
                <c:ptCount val="7"/>
                <c:pt idx="2">
                  <c:v>528.2214</c:v>
                </c:pt>
                <c:pt idx="3">
                  <c:v>137.777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324.65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9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B$2:$B$10</c:f>
              <c:numCache>
                <c:formatCode>General</c:formatCode>
                <c:ptCount val="9"/>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C$2:$C$10</c:f>
              <c:numCache>
                <c:formatCode>General</c:formatCode>
                <c:ptCount val="9"/>
                <c:pt idx="1">
                  <c:v>96.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D$2:$D$10</c:f>
              <c:numCache>
                <c:formatCode>General</c:formatCode>
                <c:ptCount val="9"/>
                <c:pt idx="0">
                  <c:v>182.1294</c:v>
                </c:pt>
                <c:pt idx="1">
                  <c:v>208.25</c:v>
                </c:pt>
                <c:pt idx="4">
                  <c:v>229.79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E$2:$E$10</c:f>
              <c:numCache>
                <c:formatCode>General</c:formatCode>
                <c:ptCount val="9"/>
                <c:pt idx="8">
                  <c:v>137.81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F$2:$F$10</c:f>
              <c:numCache>
                <c:formatCode>General</c:formatCode>
                <c:ptCount val="9"/>
                <c:pt idx="5">
                  <c:v>689.62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G$2:$G$10</c:f>
              <c:numCache>
                <c:formatCode>General</c:formatCode>
                <c:ptCount val="9"/>
                <c:pt idx="1">
                  <c:v>234.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H$2:$H$10</c:f>
              <c:numCache>
                <c:formatCode>General</c:formatCode>
                <c:ptCount val="9"/>
                <c:pt idx="0">
                  <c:v>222.3923</c:v>
                </c:pt>
                <c:pt idx="1">
                  <c:v>239.871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I$2:$I$10</c:f>
              <c:numCache>
                <c:formatCode>General</c:formatCode>
                <c:ptCount val="9"/>
                <c:pt idx="3">
                  <c:v>271.9526</c:v>
                </c:pt>
                <c:pt idx="4">
                  <c:v>303.089</c:v>
                </c:pt>
                <c:pt idx="5">
                  <c:v>737.8773</c:v>
                </c:pt>
                <c:pt idx="6">
                  <c:v>751.2728</c:v>
                </c:pt>
                <c:pt idx="8">
                  <c:v>131.762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J$2:$J$10</c:f>
              <c:numCache>
                <c:formatCode>General</c:formatCode>
                <c:ptCount val="9"/>
                <c:pt idx="1">
                  <c:v>247.08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36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K$2:$K$10</c:f>
              <c:numCache>
                <c:formatCode>General</c:formatCode>
                <c:ptCount val="9"/>
                <c:pt idx="1">
                  <c:v>252.796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L$2:$L$10</c:f>
              <c:numCache>
                <c:formatCode>General</c:formatCode>
                <c:ptCount val="9"/>
                <c:pt idx="0">
                  <c:v>267.290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M$2:$M$10</c:f>
              <c:numCache>
                <c:formatCode>General</c:formatCode>
                <c:ptCount val="9"/>
                <c:pt idx="1">
                  <c:v>5.0</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N$2:$N$10</c:f>
              <c:numCache>
                <c:formatCode>General</c:formatCode>
                <c:ptCount val="9"/>
                <c:pt idx="3">
                  <c:v>262.754</c:v>
                </c:pt>
                <c:pt idx="4">
                  <c:v>321.1057</c:v>
                </c:pt>
                <c:pt idx="8">
                  <c:v>529.212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O$2:$O$10</c:f>
              <c:numCache>
                <c:formatCode>General</c:formatCode>
                <c:ptCount val="9"/>
                <c:pt idx="2">
                  <c:v>618.1049</c:v>
                </c:pt>
                <c:pt idx="3">
                  <c:v>247.4402</c:v>
                </c:pt>
                <c:pt idx="5">
                  <c:v>629.4024</c:v>
                </c:pt>
                <c:pt idx="6">
                  <c:v>689.1231</c:v>
                </c:pt>
                <c:pt idx="7">
                  <c:v>665.403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P$2:$P$10</c:f>
              <c:numCache>
                <c:formatCode>General</c:formatCode>
                <c:ptCount val="9"/>
                <c:pt idx="1">
                  <c:v>15.3399</c:v>
                </c:pt>
                <c:pt idx="8">
                  <c:v>135.821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Nivea</c:v>
                </c:pt>
                <c:pt idx="4">
                  <c:v>Neutrogena</c:v>
                </c:pt>
                <c:pt idx="5">
                  <c:v>Avene</c:v>
                </c:pt>
                <c:pt idx="6">
                  <c:v>Eucerin</c:v>
                </c:pt>
                <c:pt idx="7">
                  <c:v>La Roche-Posay</c:v>
                </c:pt>
                <c:pt idx="8">
                  <c:v>Others Marca Unif.</c:v>
                </c:pt>
              </c:strCache>
            </c:strRef>
          </c:cat>
          <c:val>
            <c:numRef>
              <c:f>Sheet1!$Q$2:$Q$10</c:f>
              <c:numCache>
                <c:formatCode>General</c:formatCode>
                <c:ptCount val="9"/>
                <c:pt idx="0">
                  <c:v>104.17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Isdin</c:v>
                </c:pt>
                <c:pt idx="3">
                  <c:v>Avene</c:v>
                </c:pt>
                <c:pt idx="4">
                  <c:v>Heliocare</c:v>
                </c:pt>
                <c:pt idx="5">
                  <c:v>Eucerin</c:v>
                </c:pt>
                <c:pt idx="6">
                  <c:v>Photoderm</c:v>
                </c:pt>
                <c:pt idx="7">
                  <c:v>Nivea</c:v>
                </c:pt>
                <c:pt idx="8">
                  <c:v>All Others</c:v>
                </c:pt>
              </c:strCache>
            </c:strRef>
          </c:cat>
          <c:val>
            <c:numRef>
              <c:f>Sheet1!$B$2:$B$10</c:f>
              <c:numCache>
                <c:formatCode>General</c:formatCode>
                <c:ptCount val="9"/>
                <c:pt idx="3">
                  <c:v>774.5679</c:v>
                </c:pt>
                <c:pt idx="6">
                  <c:v>623.8531</c:v>
                </c:pt>
                <c:pt idx="7">
                  <c:v>262.499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Isdin</c:v>
                </c:pt>
                <c:pt idx="3">
                  <c:v>Avene</c:v>
                </c:pt>
                <c:pt idx="4">
                  <c:v>Heliocare</c:v>
                </c:pt>
                <c:pt idx="5">
                  <c:v>Eucerin</c:v>
                </c:pt>
                <c:pt idx="6">
                  <c:v>Photoderm</c:v>
                </c:pt>
                <c:pt idx="7">
                  <c:v>Nivea</c:v>
                </c:pt>
                <c:pt idx="8">
                  <c:v>All Others</c:v>
                </c:pt>
              </c:strCache>
            </c:strRef>
          </c:cat>
          <c:val>
            <c:numRef>
              <c:f>Sheet1!$C$2:$C$10</c:f>
              <c:numCache>
                <c:formatCode>General</c:formatCode>
                <c:ptCount val="9"/>
                <c:pt idx="0">
                  <c:v>272.3561</c:v>
                </c:pt>
                <c:pt idx="1">
                  <c:v>618.9826</c:v>
                </c:pt>
                <c:pt idx="2">
                  <c:v>632.2253</c:v>
                </c:pt>
                <c:pt idx="3">
                  <c:v>734.2303</c:v>
                </c:pt>
                <c:pt idx="4">
                  <c:v>640.4258</c:v>
                </c:pt>
                <c:pt idx="5">
                  <c:v>596.8936</c:v>
                </c:pt>
                <c:pt idx="8">
                  <c:v>608.730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B$2:$B$9</c:f>
              <c:numCache>
                <c:formatCode>General</c:formatCode>
                <c:ptCount val="8"/>
                <c:pt idx="4">
                  <c:v>951.3188</c:v>
                </c:pt>
                <c:pt idx="7">
                  <c:v>511.63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C$2:$C$9</c:f>
              <c:numCache>
                <c:formatCode>General</c:formatCode>
                <c:ptCount val="8"/>
                <c:pt idx="0">
                  <c:v>270.21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D$2:$D$9</c:f>
              <c:numCache>
                <c:formatCode>General</c:formatCode>
                <c:ptCount val="8"/>
                <c:pt idx="0">
                  <c:v>275.84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E$2:$E$9</c:f>
              <c:numCache>
                <c:formatCode>General</c:formatCode>
                <c:ptCount val="8"/>
                <c:pt idx="1">
                  <c:v>635.63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F$2:$F$9</c:f>
              <c:numCache>
                <c:formatCode>General</c:formatCode>
                <c:ptCount val="8"/>
                <c:pt idx="5">
                  <c:v>752.565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G$2:$G$9</c:f>
              <c:numCache>
                <c:formatCode>General</c:formatCode>
                <c:ptCount val="8"/>
                <c:pt idx="2">
                  <c:v>632.3163</c:v>
                </c:pt>
                <c:pt idx="3">
                  <c:v>581.6646</c:v>
                </c:pt>
                <c:pt idx="4">
                  <c:v>631.09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Eucerin</c:v>
                </c:pt>
                <c:pt idx="3">
                  <c:v>La Roche-Posay</c:v>
                </c:pt>
                <c:pt idx="4">
                  <c:v>Heliocare</c:v>
                </c:pt>
                <c:pt idx="5">
                  <c:v>Photoderm</c:v>
                </c:pt>
                <c:pt idx="6">
                  <c:v>Others Marca Unif.</c:v>
                </c:pt>
                <c:pt idx="7">
                  <c:v>Cetaphil</c:v>
                </c:pt>
              </c:strCache>
            </c:strRef>
          </c:cat>
          <c:val>
            <c:numRef>
              <c:f>Sheet1!$H$2:$H$9</c:f>
              <c:numCache>
                <c:formatCode>General</c:formatCode>
                <c:ptCount val="8"/>
                <c:pt idx="6">
                  <c:v>609.653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Eucerin</c:v>
                </c:pt>
                <c:pt idx="1">
                  <c:v>Photoderm</c:v>
                </c:pt>
              </c:strCache>
            </c:strRef>
          </c:cat>
          <c:val>
            <c:numRef>
              <c:f>Sheet1!$B$2:$B$3</c:f>
              <c:numCache>
                <c:formatCode>General</c:formatCode>
                <c:ptCount val="2"/>
                <c:pt idx="0">
                  <c:v>641.53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Eucerin</c:v>
                </c:pt>
                <c:pt idx="1">
                  <c:v>Photoderm</c:v>
                </c:pt>
              </c:strCache>
            </c:strRef>
          </c:cat>
          <c:val>
            <c:numRef>
              <c:f>Sheet1!$C$2:$C$3</c:f>
              <c:numCache>
                <c:formatCode>General</c:formatCode>
                <c:ptCount val="2"/>
                <c:pt idx="1">
                  <c:v>824.685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Eucerin</c:v>
                </c:pt>
                <c:pt idx="1">
                  <c:v>Photoderm</c:v>
                </c:pt>
              </c:strCache>
            </c:strRef>
          </c:cat>
          <c:val>
            <c:numRef>
              <c:f>Sheet1!$D$2:$D$3</c:f>
              <c:numCache>
                <c:formatCode>General</c:formatCode>
                <c:ptCount val="2"/>
                <c:pt idx="0">
                  <c:v>697.86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37</a:t>
                    </a:r>
                  </a:p>
                </c:rich>
              </c:tx>
              <c:dLblPos val="t"/>
              <c:showLegendKey val="0"/>
              <c:showVal val="1"/>
              <c:showCatName val="0"/>
              <c:showSerName val="0"/>
              <c:showPercent val="0"/>
              <c:showBubbleSize val="0"/>
            </c:dLbl>
            <c:dLbl>
              <c:idx val="1"/>
              <c:tx>
                <c:rich>
                  <a:bodyPr/>
                  <a:lstStyle/>
                  <a:p>
                    <a:r>
                      <a:t>327.72</a:t>
                    </a:r>
                  </a:p>
                </c:rich>
              </c:tx>
              <c:dLblPos val="t"/>
              <c:showLegendKey val="0"/>
              <c:showVal val="1"/>
              <c:showCatName val="0"/>
              <c:showSerName val="0"/>
              <c:showPercent val="0"/>
              <c:showBubbleSize val="0"/>
            </c:dLbl>
            <c:dLbl>
              <c:idx val="2"/>
              <c:tx>
                <c:rich>
                  <a:bodyPr/>
                  <a:lstStyle/>
                  <a:p>
                    <a:r>
                      <a:t>332.96</a:t>
                    </a:r>
                  </a:p>
                </c:rich>
              </c:tx>
              <c:dLblPos val="t"/>
              <c:showLegendKey val="0"/>
              <c:showVal val="1"/>
              <c:showCatName val="0"/>
              <c:showSerName val="0"/>
              <c:showPercent val="0"/>
              <c:showBubbleSize val="0"/>
            </c:dLbl>
            <c:dLbl>
              <c:idx val="3"/>
              <c:tx>
                <c:rich>
                  <a:bodyPr/>
                  <a:lstStyle/>
                  <a:p>
                    <a:r>
                      <a:t>81.09</a:t>
                    </a:r>
                  </a:p>
                </c:rich>
              </c:tx>
              <c:dLblPos val="t"/>
              <c:showLegendKey val="0"/>
              <c:showVal val="1"/>
              <c:showCatName val="0"/>
              <c:showSerName val="0"/>
              <c:showPercent val="0"/>
              <c:showBubbleSize val="0"/>
            </c:dLbl>
            <c:dLbl>
              <c:idx val="4"/>
              <c:tx>
                <c:rich>
                  <a:bodyPr/>
                  <a:lstStyle/>
                  <a:p>
                    <a:r>
                      <a:t>319.96</a:t>
                    </a:r>
                  </a:p>
                </c:rich>
              </c:tx>
              <c:dLblPos val="t"/>
              <c:showLegendKey val="0"/>
              <c:showVal val="1"/>
              <c:showCatName val="0"/>
              <c:showSerName val="0"/>
              <c:showPercent val="0"/>
              <c:showBubbleSize val="0"/>
            </c:dLbl>
            <c:dLbl>
              <c:idx val="5"/>
              <c:tx>
                <c:rich>
                  <a:bodyPr/>
                  <a:lstStyle/>
                  <a:p>
                    <a:r>
                      <a:t>345.63</a:t>
                    </a:r>
                  </a:p>
                </c:rich>
              </c:tx>
              <c:dLblPos val="t"/>
              <c:showLegendKey val="0"/>
              <c:showVal val="1"/>
              <c:showCatName val="0"/>
              <c:showSerName val="0"/>
              <c:showPercent val="0"/>
              <c:showBubbleSize val="0"/>
            </c:dLbl>
            <c:dLbl>
              <c:idx val="6"/>
              <c:tx>
                <c:rich>
                  <a:bodyPr/>
                  <a:lstStyle/>
                  <a:p>
                    <a:r>
                      <a:t>398.73</a:t>
                    </a:r>
                  </a:p>
                </c:rich>
              </c:tx>
              <c:dLblPos val="t"/>
              <c:showLegendKey val="0"/>
              <c:showVal val="1"/>
              <c:showCatName val="0"/>
              <c:showSerName val="0"/>
              <c:showPercent val="0"/>
              <c:showBubbleSize val="0"/>
            </c:dLbl>
            <c:dLbl>
              <c:idx val="7"/>
              <c:tx>
                <c:rich>
                  <a:bodyPr/>
                  <a:lstStyle/>
                  <a:p>
                    <a:r>
                      <a:t>343.91</a:t>
                    </a:r>
                  </a:p>
                </c:rich>
              </c:tx>
              <c:dLblPos val="t"/>
              <c:showLegendKey val="0"/>
              <c:showVal val="1"/>
              <c:showCatName val="0"/>
              <c:showSerName val="0"/>
              <c:showPercent val="0"/>
              <c:showBubbleSize val="0"/>
            </c:dLbl>
            <c:dLbl>
              <c:idx val="8"/>
              <c:tx>
                <c:rich>
                  <a:bodyPr/>
                  <a:lstStyle/>
                  <a:p>
                    <a:r>
                      <a:t>102.13</a:t>
                    </a:r>
                  </a:p>
                </c:rich>
              </c:tx>
              <c:dLblPos val="t"/>
              <c:showLegendKey val="0"/>
              <c:showVal val="1"/>
              <c:showCatName val="0"/>
              <c:showSerName val="0"/>
              <c:showPercent val="0"/>
              <c:showBubbleSize val="0"/>
            </c:dLbl>
            <c:dLbl>
              <c:idx val="9"/>
              <c:tx>
                <c:rich>
                  <a:bodyPr/>
                  <a:lstStyle/>
                  <a:p>
                    <a:r>
                      <a:t>257.6</a:t>
                    </a:r>
                  </a:p>
                </c:rich>
              </c:tx>
              <c:dLblPos val="t"/>
              <c:showLegendKey val="0"/>
              <c:showVal val="1"/>
              <c:showCatName val="0"/>
              <c:showSerName val="0"/>
              <c:showPercent val="0"/>
              <c:showBubbleSize val="0"/>
            </c:dLbl>
            <c:dLbl>
              <c:idx val="10"/>
              <c:tx>
                <c:rich>
                  <a:bodyPr/>
                  <a:lstStyle/>
                  <a:p>
                    <a:r>
                      <a:t>345.52</a:t>
                    </a:r>
                  </a:p>
                </c:rich>
              </c:tx>
              <c:dLblPos val="t"/>
              <c:showLegendKey val="0"/>
              <c:showVal val="1"/>
              <c:showCatName val="0"/>
              <c:showSerName val="0"/>
              <c:showPercent val="0"/>
              <c:showBubbleSize val="0"/>
            </c:dLbl>
            <c:dLbl>
              <c:idx val="11"/>
              <c:tx>
                <c:rich>
                  <a:bodyPr/>
                  <a:lstStyle/>
                  <a:p>
                    <a:r>
                      <a:t>342.82</a:t>
                    </a:r>
                  </a:p>
                </c:rich>
              </c:tx>
              <c:dLblPos val="t"/>
              <c:showLegendKey val="0"/>
              <c:showVal val="1"/>
              <c:showCatName val="0"/>
              <c:showSerName val="0"/>
              <c:showPercent val="0"/>
              <c:showBubbleSize val="0"/>
            </c:dLbl>
            <c:dLbl>
              <c:idx val="12"/>
              <c:tx>
                <c:rich>
                  <a:bodyPr/>
                  <a:lstStyle/>
                  <a:p>
                    <a:r>
                      <a:t>349.39</a:t>
                    </a:r>
                  </a:p>
                </c:rich>
              </c:tx>
              <c:dLblPos val="t"/>
              <c:showLegendKey val="0"/>
              <c:showVal val="1"/>
              <c:showCatName val="0"/>
              <c:showSerName val="0"/>
              <c:showPercent val="0"/>
              <c:showBubbleSize val="0"/>
            </c:dLbl>
            <c:dLbl>
              <c:idx val="13"/>
              <c:tx>
                <c:rich>
                  <a:bodyPr/>
                  <a:lstStyle/>
                  <a:p>
                    <a:r>
                      <a:t>330.0</a:t>
                    </a:r>
                  </a:p>
                </c:rich>
              </c:tx>
              <c:dLblPos val="t"/>
              <c:showLegendKey val="0"/>
              <c:showVal val="1"/>
              <c:showCatName val="0"/>
              <c:showSerName val="0"/>
              <c:showPercent val="0"/>
              <c:showBubbleSize val="0"/>
            </c:dLbl>
            <c:dLbl>
              <c:idx val="14"/>
              <c:tx>
                <c:rich>
                  <a:bodyPr/>
                  <a:lstStyle/>
                  <a:p>
                    <a:r>
                      <a:t>156.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Spray Liquido 50+ 170Ml</c:v>
                </c:pt>
                <c:pt idx="2">
                  <c:v>Edgewell Banana Boat Dry Balance Sunscreen Adults Sport Spray Liquido 50 220Ml</c:v>
                </c:pt>
                <c:pt idx="3">
                  <c:v>Edgewell Banana Boat Advanced Protection Sunscreen Adults Cosmetics Liquido 50+ 60Ml</c:v>
                </c:pt>
                <c:pt idx="4">
                  <c:v>Edgewell Banana Boat Advanced Protection Sunscreen Adults Cosmetics Liquido 50+ 240Ml</c:v>
                </c:pt>
                <c:pt idx="5">
                  <c:v>Edgewell Banana Boat Mineral Sunscreen Kids Cosmetics Locion 50 180Ml</c:v>
                </c:pt>
                <c:pt idx="6">
                  <c:v>Edgewell Banana Boat Banded Pack Banded Pack 2X Sunscreen Multi 50+ 170Ml</c:v>
                </c:pt>
                <c:pt idx="7">
                  <c:v>Edgewell Banana Boat Mineral Sunscreen Adults Sport Locion 50 180Ml</c:v>
                </c:pt>
                <c:pt idx="8">
                  <c:v>Edgewell Banana Boat Dry Balance Sunscreen Adults Sport Locion 50+ 60Ml</c:v>
                </c:pt>
                <c:pt idx="9">
                  <c:v>Edgewell Banana Boat Dry Balance Sunscreen Adults Cosmetics Spray Crema 50+ 220Ml</c:v>
                </c:pt>
                <c:pt idx="10">
                  <c:v>Edgewell Banana Boat Mineral Sunscreen Adults Cosmetics Locion 50 180Ml</c:v>
                </c:pt>
                <c:pt idx="11">
                  <c:v>Edgewell Banana Boat Aqua Protect Sunscreen Adults Cosmetics Crema 50+ 236Ml</c:v>
                </c:pt>
                <c:pt idx="12">
                  <c:v>Edgewell Banana Boat Dry Balance Sunscreen Adults Sport Crema 50+ 180Ml</c:v>
                </c:pt>
                <c:pt idx="13">
                  <c:v>Edgewell Banana Boat Kids Sport Sunscreen Kids Cosmetics Crema 50 180Ml</c:v>
                </c:pt>
                <c:pt idx="14">
                  <c:v>Edgewell Banana Boat After Sun After Sun Adults Cosmetics Gel 0 - 5 230Ml</c:v>
                </c:pt>
              </c:strCache>
            </c:strRef>
          </c:cat>
          <c:val>
            <c:numRef>
              <c:f>Sheet1!$B$2:$B$16</c:f>
              <c:numCache>
                <c:formatCode>General</c:formatCode>
                <c:ptCount val="15"/>
                <c:pt idx="0">
                  <c:v>337.37</c:v>
                </c:pt>
                <c:pt idx="1">
                  <c:v>327.72</c:v>
                </c:pt>
                <c:pt idx="2">
                  <c:v>332.96</c:v>
                </c:pt>
                <c:pt idx="3">
                  <c:v>81.09</c:v>
                </c:pt>
                <c:pt idx="4">
                  <c:v>319.96</c:v>
                </c:pt>
                <c:pt idx="5">
                  <c:v>345.63</c:v>
                </c:pt>
                <c:pt idx="6">
                  <c:v>398.73</c:v>
                </c:pt>
                <c:pt idx="7">
                  <c:v>343.91</c:v>
                </c:pt>
                <c:pt idx="8">
                  <c:v>102.13</c:v>
                </c:pt>
                <c:pt idx="9">
                  <c:v>257.6</c:v>
                </c:pt>
                <c:pt idx="10">
                  <c:v>345.52</c:v>
                </c:pt>
                <c:pt idx="11">
                  <c:v>342.82</c:v>
                </c:pt>
                <c:pt idx="12">
                  <c:v>349.39</c:v>
                </c:pt>
                <c:pt idx="13">
                  <c:v>330.0</c:v>
                </c:pt>
                <c:pt idx="14">
                  <c:v>156.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B$2:$B$10</c:f>
              <c:numCache>
                <c:formatCode>General</c:formatCode>
                <c:ptCount val="9"/>
                <c:pt idx="0">
                  <c:v>267.6563</c:v>
                </c:pt>
                <c:pt idx="2">
                  <c:v>199.4572</c:v>
                </c:pt>
                <c:pt idx="6">
                  <c:v>611.51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C$2:$C$10</c:f>
              <c:numCache>
                <c:formatCode>General</c:formatCode>
                <c:ptCount val="9"/>
                <c:pt idx="1">
                  <c:v>394.3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D$2:$D$10</c:f>
              <c:numCache>
                <c:formatCode>General</c:formatCode>
                <c:ptCount val="9"/>
                <c:pt idx="0">
                  <c:v>184.3359</c:v>
                </c:pt>
                <c:pt idx="4">
                  <c:v>672.85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E$2:$E$10</c:f>
              <c:numCache>
                <c:formatCode>General</c:formatCode>
                <c:ptCount val="9"/>
                <c:pt idx="3">
                  <c:v>173.09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F$2:$F$10</c:f>
              <c:numCache>
                <c:formatCode>General</c:formatCode>
                <c:ptCount val="9"/>
                <c:pt idx="0">
                  <c:v>252.9382</c:v>
                </c:pt>
                <c:pt idx="8">
                  <c:v>625.954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G$2:$G$10</c:f>
              <c:numCache>
                <c:formatCode>General</c:formatCode>
                <c:ptCount val="9"/>
                <c:pt idx="1">
                  <c:v>285.033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H$2:$H$10</c:f>
              <c:numCache>
                <c:formatCode>General</c:formatCode>
                <c:ptCount val="9"/>
                <c:pt idx="0">
                  <c:v>246.50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I$2:$I$10</c:f>
              <c:numCache>
                <c:formatCode>General</c:formatCode>
                <c:ptCount val="9"/>
                <c:pt idx="0">
                  <c:v>272.9144</c:v>
                </c:pt>
                <c:pt idx="1">
                  <c:v>216.9147</c:v>
                </c:pt>
                <c:pt idx="2">
                  <c:v>551.16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J$2:$J$10</c:f>
              <c:numCache>
                <c:formatCode>General</c:formatCode>
                <c:ptCount val="9"/>
                <c:pt idx="3">
                  <c:v>278.2704</c:v>
                </c:pt>
                <c:pt idx="8">
                  <c:v>779.246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K$2:$K$10</c:f>
              <c:numCache>
                <c:formatCode>General</c:formatCode>
                <c:ptCount val="9"/>
                <c:pt idx="0">
                  <c:v>284.361</c:v>
                </c:pt>
                <c:pt idx="1">
                  <c:v>280.17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L$2:$L$10</c:f>
              <c:numCache>
                <c:formatCode>General</c:formatCode>
                <c:ptCount val="9"/>
                <c:pt idx="1">
                  <c:v>117.0</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M$2:$M$10</c:f>
              <c:numCache>
                <c:formatCode>General</c:formatCode>
                <c:ptCount val="9"/>
                <c:pt idx="0">
                  <c:v>264.9563</c:v>
                </c:pt>
                <c:pt idx="1">
                  <c:v>243.574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N$2:$N$10</c:f>
              <c:numCache>
                <c:formatCode>General</c:formatCode>
                <c:ptCount val="9"/>
                <c:pt idx="7">
                  <c:v>1207.275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O$2:$O$10</c:f>
              <c:numCache>
                <c:formatCode>General</c:formatCode>
                <c:ptCount val="9"/>
                <c:pt idx="5">
                  <c:v>243.030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P$2:$P$10</c:f>
              <c:numCache>
                <c:formatCode>General</c:formatCode>
                <c:ptCount val="9"/>
                <c:pt idx="0">
                  <c:v>234.5103</c:v>
                </c:pt>
                <c:pt idx="2">
                  <c:v>208.892</c:v>
                </c:pt>
                <c:pt idx="4">
                  <c:v>1032.2304</c:v>
                </c:pt>
                <c:pt idx="6">
                  <c:v>670.435</c:v>
                </c:pt>
                <c:pt idx="7">
                  <c:v>679.472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Q$2:$Q$10</c:f>
              <c:numCache>
                <c:formatCode>General</c:formatCode>
                <c:ptCount val="9"/>
                <c:pt idx="0">
                  <c:v>92.5038</c:v>
                </c:pt>
                <c:pt idx="1">
                  <c:v>75.793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Loreal Paris</c:v>
                </c:pt>
                <c:pt idx="6">
                  <c:v>Isdin</c:v>
                </c:pt>
                <c:pt idx="7">
                  <c:v>La Roche-Posay</c:v>
                </c:pt>
                <c:pt idx="8">
                  <c:v>Eucerin</c:v>
                </c:pt>
              </c:strCache>
            </c:strRef>
          </c:cat>
          <c:val>
            <c:numRef>
              <c:f>Sheet1!$R$2:$R$10</c:f>
              <c:numCache>
                <c:formatCode>General</c:formatCode>
                <c:ptCount val="9"/>
                <c:pt idx="0">
                  <c:v>97.15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B$2:$B$8</c:f>
              <c:numCache>
                <c:formatCode>General</c:formatCode>
                <c:ptCount val="7"/>
                <c:pt idx="4">
                  <c:v>163.9465</c:v>
                </c:pt>
                <c:pt idx="5">
                  <c:v>435.88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C$2:$C$8</c:f>
              <c:numCache>
                <c:formatCode>General</c:formatCode>
                <c:ptCount val="7"/>
                <c:pt idx="0">
                  <c:v>139.99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D$2:$D$8</c:f>
              <c:numCache>
                <c:formatCode>General</c:formatCode>
                <c:ptCount val="7"/>
                <c:pt idx="0">
                  <c:v>280.10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E$2:$E$8</c:f>
              <c:numCache>
                <c:formatCode>General</c:formatCode>
                <c:ptCount val="7"/>
                <c:pt idx="0">
                  <c:v>291.059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F$2:$F$8</c:f>
              <c:numCache>
                <c:formatCode>General</c:formatCode>
                <c:ptCount val="7"/>
                <c:pt idx="1">
                  <c:v>610.0942</c:v>
                </c:pt>
                <c:pt idx="2">
                  <c:v>751.4068</c:v>
                </c:pt>
                <c:pt idx="4">
                  <c:v>301.15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36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G$2:$G$8</c:f>
              <c:numCache>
                <c:formatCode>General</c:formatCode>
                <c:ptCount val="7"/>
                <c:pt idx="0">
                  <c:v>238.263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H$2:$H$8</c:f>
              <c:numCache>
                <c:formatCode>General</c:formatCode>
                <c:ptCount val="7"/>
                <c:pt idx="1">
                  <c:v>654.7646</c:v>
                </c:pt>
                <c:pt idx="6">
                  <c:v>263.728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I$2:$I$8</c:f>
              <c:numCache>
                <c:formatCode>General</c:formatCode>
                <c:ptCount val="7"/>
                <c:pt idx="5">
                  <c:v>404.608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J$2:$J$8</c:f>
              <c:numCache>
                <c:formatCode>General</c:formatCode>
                <c:ptCount val="7"/>
                <c:pt idx="0">
                  <c:v>106.818</c:v>
                </c:pt>
                <c:pt idx="3">
                  <c:v>290.38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5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K$2:$K$8</c:f>
              <c:numCache>
                <c:formatCode>General</c:formatCode>
                <c:ptCount val="7"/>
                <c:pt idx="2">
                  <c:v>526.727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9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La Roche-Posay</c:v>
                </c:pt>
                <c:pt idx="3">
                  <c:v>Eclipsol</c:v>
                </c:pt>
                <c:pt idx="4">
                  <c:v>Others Marca Unif.</c:v>
                </c:pt>
                <c:pt idx="5">
                  <c:v>Mustela</c:v>
                </c:pt>
                <c:pt idx="6">
                  <c:v>Sun &amp; Skin Care Research: All Others</c:v>
                </c:pt>
              </c:strCache>
            </c:strRef>
          </c:cat>
          <c:val>
            <c:numRef>
              <c:f>Sheet1!$L$2:$L$8</c:f>
              <c:numCache>
                <c:formatCode>General</c:formatCode>
                <c:ptCount val="7"/>
                <c:pt idx="6">
                  <c:v>169.707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498.214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07.719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arnier</c:v>
                </c:pt>
                <c:pt idx="1">
                  <c:v>Others Marca Unif.</c:v>
                </c:pt>
              </c:strCache>
            </c:strRef>
          </c:cat>
          <c:val>
            <c:numRef>
              <c:f>Sheet1!$B$2:$B$3</c:f>
              <c:numCache>
                <c:formatCode>General</c:formatCode>
                <c:ptCount val="2"/>
                <c:pt idx="0">
                  <c:v>214.50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Garnier</c:v>
                </c:pt>
                <c:pt idx="1">
                  <c:v>Others Marca Unif.</c:v>
                </c:pt>
              </c:strCache>
            </c:strRef>
          </c:cat>
          <c:val>
            <c:numRef>
              <c:f>Sheet1!$C$2:$C$3</c:f>
              <c:numCache>
                <c:formatCode>General</c:formatCode>
                <c:ptCount val="2"/>
                <c:pt idx="1">
                  <c:v>620.28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anana Boat</c:v>
                </c:pt>
                <c:pt idx="1">
                  <c:v>Photoderm</c:v>
                </c:pt>
                <c:pt idx="2">
                  <c:v>La Roche-Posay</c:v>
                </c:pt>
                <c:pt idx="3">
                  <c:v>Australian Gold</c:v>
                </c:pt>
                <c:pt idx="4">
                  <c:v>Genove</c:v>
                </c:pt>
                <c:pt idx="5">
                  <c:v>Ocean Potion</c:v>
                </c:pt>
                <c:pt idx="6">
                  <c:v>Others Marca Unif.</c:v>
                </c:pt>
                <c:pt idx="7">
                  <c:v>Mustela</c:v>
                </c:pt>
              </c:strCache>
            </c:strRef>
          </c:cat>
          <c:val>
            <c:numRef>
              <c:f>Sheet1!$B$2:$B$9</c:f>
              <c:numCache>
                <c:formatCode>General</c:formatCode>
                <c:ptCount val="8"/>
                <c:pt idx="4">
                  <c:v>636.08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anana Boat</c:v>
                </c:pt>
                <c:pt idx="1">
                  <c:v>Photoderm</c:v>
                </c:pt>
                <c:pt idx="2">
                  <c:v>La Roche-Posay</c:v>
                </c:pt>
                <c:pt idx="3">
                  <c:v>Australian Gold</c:v>
                </c:pt>
                <c:pt idx="4">
                  <c:v>Genove</c:v>
                </c:pt>
                <c:pt idx="5">
                  <c:v>Ocean Potion</c:v>
                </c:pt>
                <c:pt idx="6">
                  <c:v>Others Marca Unif.</c:v>
                </c:pt>
                <c:pt idx="7">
                  <c:v>Mustela</c:v>
                </c:pt>
              </c:strCache>
            </c:strRef>
          </c:cat>
          <c:val>
            <c:numRef>
              <c:f>Sheet1!$C$2:$C$9</c:f>
              <c:numCache>
                <c:formatCode>General</c:formatCode>
                <c:ptCount val="8"/>
                <c:pt idx="1">
                  <c:v>736.315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6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anana Boat</c:v>
                </c:pt>
                <c:pt idx="1">
                  <c:v>Photoderm</c:v>
                </c:pt>
                <c:pt idx="2">
                  <c:v>La Roche-Posay</c:v>
                </c:pt>
                <c:pt idx="3">
                  <c:v>Australian Gold</c:v>
                </c:pt>
                <c:pt idx="4">
                  <c:v>Genove</c:v>
                </c:pt>
                <c:pt idx="5">
                  <c:v>Ocean Potion</c:v>
                </c:pt>
                <c:pt idx="6">
                  <c:v>Others Marca Unif.</c:v>
                </c:pt>
                <c:pt idx="7">
                  <c:v>Mustela</c:v>
                </c:pt>
              </c:strCache>
            </c:strRef>
          </c:cat>
          <c:val>
            <c:numRef>
              <c:f>Sheet1!$D$2:$D$9</c:f>
              <c:numCache>
                <c:formatCode>General</c:formatCode>
                <c:ptCount val="8"/>
                <c:pt idx="5">
                  <c:v>321.74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anana Boat</c:v>
                </c:pt>
                <c:pt idx="1">
                  <c:v>Photoderm</c:v>
                </c:pt>
                <c:pt idx="2">
                  <c:v>La Roche-Posay</c:v>
                </c:pt>
                <c:pt idx="3">
                  <c:v>Australian Gold</c:v>
                </c:pt>
                <c:pt idx="4">
                  <c:v>Genove</c:v>
                </c:pt>
                <c:pt idx="5">
                  <c:v>Ocean Potion</c:v>
                </c:pt>
                <c:pt idx="6">
                  <c:v>Others Marca Unif.</c:v>
                </c:pt>
                <c:pt idx="7">
                  <c:v>Mustela</c:v>
                </c:pt>
              </c:strCache>
            </c:strRef>
          </c:cat>
          <c:val>
            <c:numRef>
              <c:f>Sheet1!$E$2:$E$9</c:f>
              <c:numCache>
                <c:formatCode>General</c:formatCode>
                <c:ptCount val="8"/>
                <c:pt idx="0">
                  <c:v>219.1252</c:v>
                </c:pt>
                <c:pt idx="3">
                  <c:v>360.134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anana Boat</c:v>
                </c:pt>
                <c:pt idx="1">
                  <c:v>Photoderm</c:v>
                </c:pt>
                <c:pt idx="2">
                  <c:v>La Roche-Posay</c:v>
                </c:pt>
                <c:pt idx="3">
                  <c:v>Australian Gold</c:v>
                </c:pt>
                <c:pt idx="4">
                  <c:v>Genove</c:v>
                </c:pt>
                <c:pt idx="5">
                  <c:v>Ocean Potion</c:v>
                </c:pt>
                <c:pt idx="6">
                  <c:v>Others Marca Unif.</c:v>
                </c:pt>
                <c:pt idx="7">
                  <c:v>Mustela</c:v>
                </c:pt>
              </c:strCache>
            </c:strRef>
          </c:cat>
          <c:val>
            <c:numRef>
              <c:f>Sheet1!$F$2:$F$9</c:f>
              <c:numCache>
                <c:formatCode>General</c:formatCode>
                <c:ptCount val="8"/>
                <c:pt idx="1">
                  <c:v>879.1412</c:v>
                </c:pt>
                <c:pt idx="2">
                  <c:v>1043.2024</c:v>
                </c:pt>
                <c:pt idx="6">
                  <c:v>307.7394</c:v>
                </c:pt>
                <c:pt idx="7">
                  <c:v>410.141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anana Boat</c:v>
                </c:pt>
                <c:pt idx="1">
                  <c:v>Photoderm</c:v>
                </c:pt>
                <c:pt idx="2">
                  <c:v>La Roche-Posay</c:v>
                </c:pt>
                <c:pt idx="3">
                  <c:v>Australian Gold</c:v>
                </c:pt>
                <c:pt idx="4">
                  <c:v>Genove</c:v>
                </c:pt>
                <c:pt idx="5">
                  <c:v>Ocean Potion</c:v>
                </c:pt>
                <c:pt idx="6">
                  <c:v>Others Marca Unif.</c:v>
                </c:pt>
                <c:pt idx="7">
                  <c:v>Mustela</c:v>
                </c:pt>
              </c:strCache>
            </c:strRef>
          </c:cat>
          <c:val>
            <c:numRef>
              <c:f>Sheet1!$G$2:$G$9</c:f>
              <c:numCache>
                <c:formatCode>General</c:formatCode>
                <c:ptCount val="8"/>
                <c:pt idx="1">
                  <c:v>724.523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anana Boat</c:v>
                </c:pt>
                <c:pt idx="1">
                  <c:v>Photoderm</c:v>
                </c:pt>
                <c:pt idx="2">
                  <c:v>La Roche-Posay</c:v>
                </c:pt>
                <c:pt idx="3">
                  <c:v>Australian Gold</c:v>
                </c:pt>
                <c:pt idx="4">
                  <c:v>Genove</c:v>
                </c:pt>
                <c:pt idx="5">
                  <c:v>Ocean Potion</c:v>
                </c:pt>
                <c:pt idx="6">
                  <c:v>Others Marca Unif.</c:v>
                </c:pt>
                <c:pt idx="7">
                  <c:v>Mustela</c:v>
                </c:pt>
              </c:strCache>
            </c:strRef>
          </c:cat>
          <c:val>
            <c:numRef>
              <c:f>Sheet1!$H$2:$H$9</c:f>
              <c:numCache>
                <c:formatCode>General</c:formatCode>
                <c:ptCount val="8"/>
                <c:pt idx="0">
                  <c:v>305.067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anana Boat</c:v>
                </c:pt>
                <c:pt idx="1">
                  <c:v>Photoderm</c:v>
                </c:pt>
                <c:pt idx="2">
                  <c:v>La Roche-Posay</c:v>
                </c:pt>
                <c:pt idx="3">
                  <c:v>Australian Gold</c:v>
                </c:pt>
                <c:pt idx="4">
                  <c:v>Genove</c:v>
                </c:pt>
                <c:pt idx="5">
                  <c:v>Ocean Potion</c:v>
                </c:pt>
                <c:pt idx="6">
                  <c:v>Others Marca Unif.</c:v>
                </c:pt>
                <c:pt idx="7">
                  <c:v>Mustela</c:v>
                </c:pt>
              </c:strCache>
            </c:strRef>
          </c:cat>
          <c:val>
            <c:numRef>
              <c:f>Sheet1!$I$2:$I$9</c:f>
              <c:numCache>
                <c:formatCode>General</c:formatCode>
                <c:ptCount val="8"/>
                <c:pt idx="1">
                  <c:v>1116.825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sdin</c:v>
                </c:pt>
                <c:pt idx="1">
                  <c:v>Heliocare</c:v>
                </c:pt>
                <c:pt idx="2">
                  <c:v>Others Marca Unif.</c:v>
                </c:pt>
                <c:pt idx="3">
                  <c:v>Neutrogena</c:v>
                </c:pt>
              </c:strCache>
            </c:strRef>
          </c:cat>
          <c:val>
            <c:numRef>
              <c:f>Sheet1!$B$2:$B$5</c:f>
              <c:numCache>
                <c:formatCode>General</c:formatCode>
                <c:ptCount val="4"/>
                <c:pt idx="0">
                  <c:v>480.52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Isdin</c:v>
                </c:pt>
                <c:pt idx="1">
                  <c:v>Heliocare</c:v>
                </c:pt>
                <c:pt idx="2">
                  <c:v>Others Marca Unif.</c:v>
                </c:pt>
                <c:pt idx="3">
                  <c:v>Neutrogena</c:v>
                </c:pt>
              </c:strCache>
            </c:strRef>
          </c:cat>
          <c:val>
            <c:numRef>
              <c:f>Sheet1!$C$2:$C$5</c:f>
              <c:numCache>
                <c:formatCode>General</c:formatCode>
                <c:ptCount val="4"/>
                <c:pt idx="2">
                  <c:v>345.11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9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Heliocare</c:v>
                </c:pt>
                <c:pt idx="2">
                  <c:v>Others Marca Unif.</c:v>
                </c:pt>
                <c:pt idx="3">
                  <c:v>Neutrogena</c:v>
                </c:pt>
              </c:strCache>
            </c:strRef>
          </c:cat>
          <c:val>
            <c:numRef>
              <c:f>Sheet1!$D$2:$D$5</c:f>
              <c:numCache>
                <c:formatCode>General</c:formatCode>
                <c:ptCount val="4"/>
                <c:pt idx="2">
                  <c:v>611.78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Heliocare</c:v>
                </c:pt>
                <c:pt idx="2">
                  <c:v>Others Marca Unif.</c:v>
                </c:pt>
                <c:pt idx="3">
                  <c:v>Neutrogena</c:v>
                </c:pt>
              </c:strCache>
            </c:strRef>
          </c:cat>
          <c:val>
            <c:numRef>
              <c:f>Sheet1!$E$2:$E$5</c:f>
              <c:numCache>
                <c:formatCode>General</c:formatCode>
                <c:ptCount val="4"/>
                <c:pt idx="2">
                  <c:v>260.83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Isdin</c:v>
                </c:pt>
                <c:pt idx="1">
                  <c:v>Heliocare</c:v>
                </c:pt>
                <c:pt idx="2">
                  <c:v>Others Marca Unif.</c:v>
                </c:pt>
                <c:pt idx="3">
                  <c:v>Neutrogena</c:v>
                </c:pt>
              </c:strCache>
            </c:strRef>
          </c:cat>
          <c:val>
            <c:numRef>
              <c:f>Sheet1!$F$2:$F$5</c:f>
              <c:numCache>
                <c:formatCode>General</c:formatCode>
                <c:ptCount val="4"/>
                <c:pt idx="1">
                  <c:v>555.99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sdin</c:v>
                </c:pt>
                <c:pt idx="1">
                  <c:v>Heliocare</c:v>
                </c:pt>
                <c:pt idx="2">
                  <c:v>Others Marca Unif.</c:v>
                </c:pt>
                <c:pt idx="3">
                  <c:v>Neutrogena</c:v>
                </c:pt>
              </c:strCache>
            </c:strRef>
          </c:cat>
          <c:val>
            <c:numRef>
              <c:f>Sheet1!$G$2:$G$5</c:f>
              <c:numCache>
                <c:formatCode>General</c:formatCode>
                <c:ptCount val="4"/>
                <c:pt idx="2">
                  <c:v>884.334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2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sdin</c:v>
                </c:pt>
                <c:pt idx="1">
                  <c:v>Heliocare</c:v>
                </c:pt>
                <c:pt idx="2">
                  <c:v>Others Marca Unif.</c:v>
                </c:pt>
                <c:pt idx="3">
                  <c:v>Neutrogena</c:v>
                </c:pt>
              </c:strCache>
            </c:strRef>
          </c:cat>
          <c:val>
            <c:numRef>
              <c:f>Sheet1!$H$2:$H$5</c:f>
              <c:numCache>
                <c:formatCode>General</c:formatCode>
                <c:ptCount val="4"/>
                <c:pt idx="3">
                  <c:v>351.441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La Roche-Posay</c:v>
                </c:pt>
                <c:pt idx="2">
                  <c:v>Isdin</c:v>
                </c:pt>
                <c:pt idx="3">
                  <c:v>Heliocare</c:v>
                </c:pt>
                <c:pt idx="4">
                  <c:v>Vichy</c:v>
                </c:pt>
                <c:pt idx="5">
                  <c:v>Others Marca Unif.</c:v>
                </c:pt>
                <c:pt idx="6">
                  <c:v>Avene</c:v>
                </c:pt>
              </c:strCache>
            </c:strRef>
          </c:cat>
          <c:val>
            <c:numRef>
              <c:f>Sheet1!$B$2:$B$8</c:f>
              <c:numCache>
                <c:formatCode>General</c:formatCode>
                <c:ptCount val="7"/>
                <c:pt idx="1">
                  <c:v>868.6372</c:v>
                </c:pt>
                <c:pt idx="2">
                  <c:v>652.1141</c:v>
                </c:pt>
                <c:pt idx="3">
                  <c:v>698.2775</c:v>
                </c:pt>
                <c:pt idx="6">
                  <c:v>776.75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La Roche-Posay</c:v>
                </c:pt>
                <c:pt idx="2">
                  <c:v>Isdin</c:v>
                </c:pt>
                <c:pt idx="3">
                  <c:v>Heliocare</c:v>
                </c:pt>
                <c:pt idx="4">
                  <c:v>Vichy</c:v>
                </c:pt>
                <c:pt idx="5">
                  <c:v>Others Marca Unif.</c:v>
                </c:pt>
                <c:pt idx="6">
                  <c:v>Avene</c:v>
                </c:pt>
              </c:strCache>
            </c:strRef>
          </c:cat>
          <c:val>
            <c:numRef>
              <c:f>Sheet1!$C$2:$C$8</c:f>
              <c:numCache>
                <c:formatCode>General</c:formatCode>
                <c:ptCount val="7"/>
                <c:pt idx="0">
                  <c:v>395.63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La Roche-Posay</c:v>
                </c:pt>
                <c:pt idx="2">
                  <c:v>Isdin</c:v>
                </c:pt>
                <c:pt idx="3">
                  <c:v>Heliocare</c:v>
                </c:pt>
                <c:pt idx="4">
                  <c:v>Vichy</c:v>
                </c:pt>
                <c:pt idx="5">
                  <c:v>Others Marca Unif.</c:v>
                </c:pt>
                <c:pt idx="6">
                  <c:v>Avene</c:v>
                </c:pt>
              </c:strCache>
            </c:strRef>
          </c:cat>
          <c:val>
            <c:numRef>
              <c:f>Sheet1!$D$2:$D$8</c:f>
              <c:numCache>
                <c:formatCode>General</c:formatCode>
                <c:ptCount val="7"/>
                <c:pt idx="4">
                  <c:v>756.614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La Roche-Posay</c:v>
                </c:pt>
                <c:pt idx="2">
                  <c:v>Isdin</c:v>
                </c:pt>
                <c:pt idx="3">
                  <c:v>Heliocare</c:v>
                </c:pt>
                <c:pt idx="4">
                  <c:v>Vichy</c:v>
                </c:pt>
                <c:pt idx="5">
                  <c:v>Others Marca Unif.</c:v>
                </c:pt>
                <c:pt idx="6">
                  <c:v>Avene</c:v>
                </c:pt>
              </c:strCache>
            </c:strRef>
          </c:cat>
          <c:val>
            <c:numRef>
              <c:f>Sheet1!$E$2:$E$8</c:f>
              <c:numCache>
                <c:formatCode>General</c:formatCode>
                <c:ptCount val="7"/>
                <c:pt idx="1">
                  <c:v>544.5825</c:v>
                </c:pt>
                <c:pt idx="5">
                  <c:v>158.986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9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B$2:$B$10</c:f>
              <c:numCache>
                <c:formatCode>General</c:formatCode>
                <c:ptCount val="9"/>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C$2:$C$10</c:f>
              <c:numCache>
                <c:formatCode>General</c:formatCode>
                <c:ptCount val="9"/>
                <c:pt idx="1">
                  <c:v>96.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D$2:$D$10</c:f>
              <c:numCache>
                <c:formatCode>General</c:formatCode>
                <c:ptCount val="9"/>
                <c:pt idx="0">
                  <c:v>197.704</c:v>
                </c:pt>
                <c:pt idx="1">
                  <c:v>208.25</c:v>
                </c:pt>
                <c:pt idx="7">
                  <c:v>245.182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E$2:$E$10</c:f>
              <c:numCache>
                <c:formatCode>General</c:formatCode>
                <c:ptCount val="9"/>
                <c:pt idx="8">
                  <c:v>141.95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F$2:$F$10</c:f>
              <c:numCache>
                <c:formatCode>General</c:formatCode>
                <c:ptCount val="9"/>
                <c:pt idx="3">
                  <c:v>709.844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G$2:$G$10</c:f>
              <c:numCache>
                <c:formatCode>General</c:formatCode>
                <c:ptCount val="9"/>
                <c:pt idx="0">
                  <c:v>223.5671</c:v>
                </c:pt>
                <c:pt idx="1">
                  <c:v>336.55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H$2:$H$10</c:f>
              <c:numCache>
                <c:formatCode>General</c:formatCode>
                <c:ptCount val="9"/>
                <c:pt idx="3">
                  <c:v>768.4314</c:v>
                </c:pt>
                <c:pt idx="5">
                  <c:v>768.9882</c:v>
                </c:pt>
                <c:pt idx="6">
                  <c:v>331.9868</c:v>
                </c:pt>
                <c:pt idx="7">
                  <c:v>300.5926</c:v>
                </c:pt>
                <c:pt idx="8">
                  <c:v>209.25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I$2:$I$10</c:f>
              <c:numCache>
                <c:formatCode>General</c:formatCode>
                <c:ptCount val="9"/>
                <c:pt idx="1">
                  <c:v>250.894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36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J$2:$J$10</c:f>
              <c:numCache>
                <c:formatCode>General</c:formatCode>
                <c:ptCount val="9"/>
                <c:pt idx="1">
                  <c:v>287.603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K$2:$K$10</c:f>
              <c:numCache>
                <c:formatCode>General</c:formatCode>
                <c:ptCount val="9"/>
                <c:pt idx="0">
                  <c:v>282.509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L$2:$L$10</c:f>
              <c:numCache>
                <c:formatCode>General</c:formatCode>
                <c:ptCount val="9"/>
                <c:pt idx="6">
                  <c:v>294.61</c:v>
                </c:pt>
                <c:pt idx="7">
                  <c:v>345.6995</c:v>
                </c:pt>
                <c:pt idx="8">
                  <c:v>547.418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M$2:$M$10</c:f>
              <c:numCache>
                <c:formatCode>General</c:formatCode>
                <c:ptCount val="9"/>
                <c:pt idx="2">
                  <c:v>626.567</c:v>
                </c:pt>
                <c:pt idx="3">
                  <c:v>651.2513</c:v>
                </c:pt>
                <c:pt idx="4">
                  <c:v>673.2119</c:v>
                </c:pt>
                <c:pt idx="5">
                  <c:v>715.455</c:v>
                </c:pt>
                <c:pt idx="6">
                  <c:v>300.220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N$2:$N$10</c:f>
              <c:numCache>
                <c:formatCode>General</c:formatCode>
                <c:ptCount val="9"/>
                <c:pt idx="1">
                  <c:v>54.333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Isdin</c:v>
                </c:pt>
                <c:pt idx="3">
                  <c:v>Avene</c:v>
                </c:pt>
                <c:pt idx="4">
                  <c:v>La Roche-Posay</c:v>
                </c:pt>
                <c:pt idx="5">
                  <c:v>Eucerin</c:v>
                </c:pt>
                <c:pt idx="6">
                  <c:v>Nivea</c:v>
                </c:pt>
                <c:pt idx="7">
                  <c:v>Neutrogena</c:v>
                </c:pt>
                <c:pt idx="8">
                  <c:v>Others Marca Unif.</c:v>
                </c:pt>
              </c:strCache>
            </c:strRef>
          </c:cat>
          <c:val>
            <c:numRef>
              <c:f>Sheet1!$O$2:$O$10</c:f>
              <c:numCache>
                <c:formatCode>General</c:formatCode>
                <c:ptCount val="9"/>
                <c:pt idx="0">
                  <c:v>104.17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Isdin</c:v>
                </c:pt>
                <c:pt idx="3">
                  <c:v>Avene</c:v>
                </c:pt>
                <c:pt idx="4">
                  <c:v>Heliocare</c:v>
                </c:pt>
                <c:pt idx="5">
                  <c:v>Eucerin</c:v>
                </c:pt>
                <c:pt idx="6">
                  <c:v>Photoderm</c:v>
                </c:pt>
                <c:pt idx="7">
                  <c:v>Nivea</c:v>
                </c:pt>
                <c:pt idx="8">
                  <c:v>All Others</c:v>
                </c:pt>
              </c:strCache>
            </c:strRef>
          </c:cat>
          <c:val>
            <c:numRef>
              <c:f>Sheet1!$B$2:$B$10</c:f>
              <c:numCache>
                <c:formatCode>General</c:formatCode>
                <c:ptCount val="9"/>
                <c:pt idx="3">
                  <c:v>787.5763</c:v>
                </c:pt>
                <c:pt idx="6">
                  <c:v>703.947</c:v>
                </c:pt>
                <c:pt idx="7">
                  <c:v>313.48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Isdin</c:v>
                </c:pt>
                <c:pt idx="3">
                  <c:v>Avene</c:v>
                </c:pt>
                <c:pt idx="4">
                  <c:v>Heliocare</c:v>
                </c:pt>
                <c:pt idx="5">
                  <c:v>Eucerin</c:v>
                </c:pt>
                <c:pt idx="6">
                  <c:v>Photoderm</c:v>
                </c:pt>
                <c:pt idx="7">
                  <c:v>Nivea</c:v>
                </c:pt>
                <c:pt idx="8">
                  <c:v>All Others</c:v>
                </c:pt>
              </c:strCache>
            </c:strRef>
          </c:cat>
          <c:val>
            <c:numRef>
              <c:f>Sheet1!$C$2:$C$10</c:f>
              <c:numCache>
                <c:formatCode>General</c:formatCode>
                <c:ptCount val="9"/>
                <c:pt idx="0">
                  <c:v>342.1964</c:v>
                </c:pt>
                <c:pt idx="1">
                  <c:v>629.3924</c:v>
                </c:pt>
                <c:pt idx="2">
                  <c:v>646.772</c:v>
                </c:pt>
                <c:pt idx="3">
                  <c:v>764.8857</c:v>
                </c:pt>
                <c:pt idx="4">
                  <c:v>639.439</c:v>
                </c:pt>
                <c:pt idx="5">
                  <c:v>619.7136</c:v>
                </c:pt>
                <c:pt idx="8">
                  <c:v>616.537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310.56</a:t>
                    </a:r>
                  </a:p>
                </c:rich>
              </c:tx>
              <c:dLblPos val="t"/>
              <c:showLegendKey val="0"/>
              <c:showVal val="1"/>
              <c:showCatName val="0"/>
              <c:showSerName val="0"/>
              <c:showPercent val="0"/>
              <c:showBubbleSize val="0"/>
            </c:dLbl>
            <c:dLbl>
              <c:idx val="2"/>
              <c:tx>
                <c:rich>
                  <a:bodyPr/>
                  <a:lstStyle/>
                  <a:p>
                    <a:r>
                      <a:t>93.72</a:t>
                    </a:r>
                  </a:p>
                </c:rich>
              </c:tx>
              <c:dLblPos val="t"/>
              <c:showLegendKey val="0"/>
              <c:showVal val="1"/>
              <c:showCatName val="0"/>
              <c:showSerName val="0"/>
              <c:showPercent val="0"/>
              <c:showBubbleSize val="0"/>
            </c:dLbl>
            <c:dLbl>
              <c:idx val="3"/>
              <c:tx>
                <c:rich>
                  <a:bodyPr/>
                  <a:lstStyle/>
                  <a:p>
                    <a:r>
                      <a:t>220.0</a:t>
                    </a:r>
                  </a:p>
                </c:rich>
              </c:tx>
              <c:dLblPos val="t"/>
              <c:showLegendKey val="0"/>
              <c:showVal val="1"/>
              <c:showCatName val="0"/>
              <c:showSerName val="0"/>
              <c:showPercent val="0"/>
              <c:showBubbleSize val="0"/>
            </c:dLbl>
            <c:dLbl>
              <c:idx val="4"/>
              <c:tx>
                <c:rich>
                  <a:bodyPr/>
                  <a:lstStyle/>
                  <a:p>
                    <a:r>
                      <a:t>268.66</a:t>
                    </a:r>
                  </a:p>
                </c:rich>
              </c:tx>
              <c:dLblPos val="t"/>
              <c:showLegendKey val="0"/>
              <c:showVal val="1"/>
              <c:showCatName val="0"/>
              <c:showSerName val="0"/>
              <c:showPercent val="0"/>
              <c:showBubbleSize val="0"/>
            </c:dLbl>
            <c:dLbl>
              <c:idx val="5"/>
              <c:tx>
                <c:rich>
                  <a:bodyPr/>
                  <a:lstStyle/>
                  <a:p>
                    <a:r>
                      <a:t>248.86</a:t>
                    </a:r>
                  </a:p>
                </c:rich>
              </c:tx>
              <c:dLblPos val="t"/>
              <c:showLegendKey val="0"/>
              <c:showVal val="1"/>
              <c:showCatName val="0"/>
              <c:showSerName val="0"/>
              <c:showPercent val="0"/>
              <c:showBubbleSize val="0"/>
            </c:dLbl>
            <c:dLbl>
              <c:idx val="6"/>
              <c:tx>
                <c:rich>
                  <a:bodyPr/>
                  <a:lstStyle/>
                  <a:p>
                    <a:r>
                      <a:t>249.96</a:t>
                    </a:r>
                  </a:p>
                </c:rich>
              </c:tx>
              <c:dLblPos val="t"/>
              <c:showLegendKey val="0"/>
              <c:showVal val="1"/>
              <c:showCatName val="0"/>
              <c:showSerName val="0"/>
              <c:showPercent val="0"/>
              <c:showBubbleSize val="0"/>
            </c:dLbl>
            <c:dLbl>
              <c:idx val="7"/>
              <c:tx>
                <c:rich>
                  <a:bodyPr/>
                  <a:lstStyle/>
                  <a:p>
                    <a:r>
                      <a:t>266.29</a:t>
                    </a:r>
                  </a:p>
                </c:rich>
              </c:tx>
              <c:dLblPos val="t"/>
              <c:showLegendKey val="0"/>
              <c:showVal val="1"/>
              <c:showCatName val="0"/>
              <c:showSerName val="0"/>
              <c:showPercent val="0"/>
              <c:showBubbleSize val="0"/>
            </c:dLbl>
            <c:dLbl>
              <c:idx val="8"/>
              <c:tx>
                <c:rich>
                  <a:bodyPr/>
                  <a:lstStyle/>
                  <a:p>
                    <a:r>
                      <a:t>282.97</a:t>
                    </a:r>
                  </a:p>
                </c:rich>
              </c:tx>
              <c:dLblPos val="t"/>
              <c:showLegendKey val="0"/>
              <c:showVal val="1"/>
              <c:showCatName val="0"/>
              <c:showSerName val="0"/>
              <c:showPercent val="0"/>
              <c:showBubbleSize val="0"/>
            </c:dLbl>
            <c:dLbl>
              <c:idx val="9"/>
              <c:tx>
                <c:rich>
                  <a:bodyPr/>
                  <a:lstStyle/>
                  <a:p>
                    <a:r>
                      <a:t>195.0</a:t>
                    </a:r>
                  </a:p>
                </c:rich>
              </c:tx>
              <c:dLblPos val="t"/>
              <c:showLegendKey val="0"/>
              <c:showVal val="1"/>
              <c:showCatName val="0"/>
              <c:showSerName val="0"/>
              <c:showPercent val="0"/>
              <c:showBubbleSize val="0"/>
            </c:dLbl>
            <c:dLbl>
              <c:idx val="10"/>
              <c:tx>
                <c:rich>
                  <a:bodyPr/>
                  <a:lstStyle/>
                  <a:p>
                    <a:r>
                      <a:t>213.0</a:t>
                    </a:r>
                  </a:p>
                </c:rich>
              </c:tx>
              <c:dLblPos val="t"/>
              <c:showLegendKey val="0"/>
              <c:showVal val="1"/>
              <c:showCatName val="0"/>
              <c:showSerName val="0"/>
              <c:showPercent val="0"/>
              <c:showBubbleSize val="0"/>
            </c:dLbl>
            <c:dLbl>
              <c:idx val="11"/>
              <c:tx>
                <c:rich>
                  <a:bodyPr/>
                  <a:lstStyle/>
                  <a:p>
                    <a:r>
                      <a:t>125.0</a:t>
                    </a:r>
                  </a:p>
                </c:rich>
              </c:tx>
              <c:dLblPos val="t"/>
              <c:showLegendKey val="0"/>
              <c:showVal val="1"/>
              <c:showCatName val="0"/>
              <c:showSerName val="0"/>
              <c:showPercent val="0"/>
              <c:showBubbleSize val="0"/>
            </c:dLbl>
            <c:dLbl>
              <c:idx val="12"/>
              <c:tx>
                <c:rich>
                  <a:bodyPr/>
                  <a:lstStyle/>
                  <a:p>
                    <a:r>
                      <a:t>201.58</a:t>
                    </a:r>
                  </a:p>
                </c:rich>
              </c:tx>
              <c:dLblPos val="t"/>
              <c:showLegendKey val="0"/>
              <c:showVal val="1"/>
              <c:showCatName val="0"/>
              <c:showSerName val="0"/>
              <c:showPercent val="0"/>
              <c:showBubbleSize val="0"/>
            </c:dLbl>
            <c:dLbl>
              <c:idx val="13"/>
              <c:tx>
                <c:rich>
                  <a:bodyPr/>
                  <a:lstStyle/>
                  <a:p>
                    <a:r>
                      <a:t>203.8</a:t>
                    </a:r>
                  </a:p>
                </c:rich>
              </c:tx>
              <c:dLblPos val="t"/>
              <c:showLegendKey val="0"/>
              <c:showVal val="1"/>
              <c:showCatName val="0"/>
              <c:showSerName val="0"/>
              <c:showPercent val="0"/>
              <c:showBubbleSize val="0"/>
            </c:dLbl>
            <c:dLbl>
              <c:idx val="14"/>
              <c:tx>
                <c:rich>
                  <a:bodyPr/>
                  <a:lstStyle/>
                  <a:p>
                    <a:r>
                      <a:t>265.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Banded Pack Banded Pack 2X Sunscreen Multi 50+ 170Ml</c:v>
                </c:pt>
                <c:pt idx="2">
                  <c:v>Edgewell Banana Boat Advanced Protection Sunscreen Adults Cosmetics Liquido 50+ 60Ml</c:v>
                </c:pt>
                <c:pt idx="3">
                  <c:v>Edgewell Banana Boat Mineral Sunscreen Adults Sport Locion 50 180Ml</c:v>
                </c:pt>
                <c:pt idx="4">
                  <c:v>Edgewell Banana Boat Aqua Protect Sunscreen Adults Sport Crema 50+ 236Ml</c:v>
                </c:pt>
                <c:pt idx="5">
                  <c:v>Edgewell Banana Boat Advanced Protection Sunscreen Adults Sport Liquido 50 180Ml</c:v>
                </c:pt>
                <c:pt idx="6">
                  <c:v>Edgewell Banana Boat Mineral Sunscreen Adults Cosmetics Locion 50 60Ml</c:v>
                </c:pt>
                <c:pt idx="7">
                  <c:v>Edgewell Banana Boat Dry Balance Sunscreen Adults Sport Crema 50+ 180Ml</c:v>
                </c:pt>
                <c:pt idx="8">
                  <c:v>Edgewell Banana Boat Baby Sunscreen Baby Cosmetics Locion 50 180Ml</c:v>
                </c:pt>
                <c:pt idx="9">
                  <c:v>Edgewell Banana Boat Gentle Protect Sunscreen Kids Cosmetics Spray Liquido 50+ 170Ml</c:v>
                </c:pt>
                <c:pt idx="10">
                  <c:v>Edgewell Banana Boat Mineral Sunscreen Kids Cosmetics Locion 50 180Ml</c:v>
                </c:pt>
                <c:pt idx="11">
                  <c:v>Edgewell Banana Boat Gentle Protect Sunscreen Adults Cosmetics Locion 50 180Ml</c:v>
                </c:pt>
                <c:pt idx="12">
                  <c:v>Edgewell Banana Boat Advanced Protection Sunscreen Adults Cosmetics Liquido 50+ 240Ml</c:v>
                </c:pt>
                <c:pt idx="13">
                  <c:v>Edgewell Banana Boat Bloqueador Sunscreen Adults Cosmetics Crema 50 236Ml</c:v>
                </c:pt>
                <c:pt idx="14">
                  <c:v>Edgewell Banana Boat Banded Pack Banded Pack 2X Sunscreen Multi 50+ 236Ml</c:v>
                </c:pt>
              </c:strCache>
            </c:strRef>
          </c:cat>
          <c:val>
            <c:numRef>
              <c:f>Sheet1!$B$2:$B$16</c:f>
              <c:numCache>
                <c:formatCode>General</c:formatCode>
                <c:ptCount val="15"/>
                <c:pt idx="0">
                  <c:v>240.0</c:v>
                </c:pt>
                <c:pt idx="1">
                  <c:v>310.56</c:v>
                </c:pt>
                <c:pt idx="2">
                  <c:v>93.72</c:v>
                </c:pt>
                <c:pt idx="3">
                  <c:v>220.0</c:v>
                </c:pt>
                <c:pt idx="4">
                  <c:v>268.66</c:v>
                </c:pt>
                <c:pt idx="5">
                  <c:v>248.86</c:v>
                </c:pt>
                <c:pt idx="6">
                  <c:v>249.96</c:v>
                </c:pt>
                <c:pt idx="7">
                  <c:v>266.29</c:v>
                </c:pt>
                <c:pt idx="8">
                  <c:v>282.97</c:v>
                </c:pt>
                <c:pt idx="9">
                  <c:v>195.0</c:v>
                </c:pt>
                <c:pt idx="10">
                  <c:v>213.0</c:v>
                </c:pt>
                <c:pt idx="11">
                  <c:v>125.0</c:v>
                </c:pt>
                <c:pt idx="12">
                  <c:v>201.58</c:v>
                </c:pt>
                <c:pt idx="13">
                  <c:v>203.8</c:v>
                </c:pt>
                <c:pt idx="14">
                  <c:v>265.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Isdin</c:v>
                </c:pt>
                <c:pt idx="1">
                  <c:v>Eucerin</c:v>
                </c:pt>
                <c:pt idx="2">
                  <c:v>La Roche-Posay</c:v>
                </c:pt>
                <c:pt idx="3">
                  <c:v>Nivea</c:v>
                </c:pt>
                <c:pt idx="4">
                  <c:v>Heliocare</c:v>
                </c:pt>
                <c:pt idx="5">
                  <c:v>Photoderm</c:v>
                </c:pt>
                <c:pt idx="6">
                  <c:v>Others Marca Unif.</c:v>
                </c:pt>
                <c:pt idx="7">
                  <c:v>Cetaphil</c:v>
                </c:pt>
              </c:strCache>
            </c:strRef>
          </c:cat>
          <c:val>
            <c:numRef>
              <c:f>Sheet1!$B$2:$B$9</c:f>
              <c:numCache>
                <c:formatCode>General</c:formatCode>
                <c:ptCount val="8"/>
                <c:pt idx="4">
                  <c:v>958.4326</c:v>
                </c:pt>
                <c:pt idx="7">
                  <c:v>523.94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Isdin</c:v>
                </c:pt>
                <c:pt idx="1">
                  <c:v>Eucerin</c:v>
                </c:pt>
                <c:pt idx="2">
                  <c:v>La Roche-Posay</c:v>
                </c:pt>
                <c:pt idx="3">
                  <c:v>Nivea</c:v>
                </c:pt>
                <c:pt idx="4">
                  <c:v>Heliocare</c:v>
                </c:pt>
                <c:pt idx="5">
                  <c:v>Photoderm</c:v>
                </c:pt>
                <c:pt idx="6">
                  <c:v>Others Marca Unif.</c:v>
                </c:pt>
                <c:pt idx="7">
                  <c:v>Cetaphil</c:v>
                </c:pt>
              </c:strCache>
            </c:strRef>
          </c:cat>
          <c:val>
            <c:numRef>
              <c:f>Sheet1!$C$2:$C$9</c:f>
              <c:numCache>
                <c:formatCode>General</c:formatCode>
                <c:ptCount val="8"/>
                <c:pt idx="3">
                  <c:v>333.69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Isdin</c:v>
                </c:pt>
                <c:pt idx="1">
                  <c:v>Eucerin</c:v>
                </c:pt>
                <c:pt idx="2">
                  <c:v>La Roche-Posay</c:v>
                </c:pt>
                <c:pt idx="3">
                  <c:v>Nivea</c:v>
                </c:pt>
                <c:pt idx="4">
                  <c:v>Heliocare</c:v>
                </c:pt>
                <c:pt idx="5">
                  <c:v>Photoderm</c:v>
                </c:pt>
                <c:pt idx="6">
                  <c:v>Others Marca Unif.</c:v>
                </c:pt>
                <c:pt idx="7">
                  <c:v>Cetaphil</c:v>
                </c:pt>
              </c:strCache>
            </c:strRef>
          </c:cat>
          <c:val>
            <c:numRef>
              <c:f>Sheet1!$D$2:$D$9</c:f>
              <c:numCache>
                <c:formatCode>General</c:formatCode>
                <c:ptCount val="8"/>
                <c:pt idx="3">
                  <c:v>339.276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Isdin</c:v>
                </c:pt>
                <c:pt idx="1">
                  <c:v>Eucerin</c:v>
                </c:pt>
                <c:pt idx="2">
                  <c:v>La Roche-Posay</c:v>
                </c:pt>
                <c:pt idx="3">
                  <c:v>Nivea</c:v>
                </c:pt>
                <c:pt idx="4">
                  <c:v>Heliocare</c:v>
                </c:pt>
                <c:pt idx="5">
                  <c:v>Photoderm</c:v>
                </c:pt>
                <c:pt idx="6">
                  <c:v>Others Marca Unif.</c:v>
                </c:pt>
                <c:pt idx="7">
                  <c:v>Cetaphil</c:v>
                </c:pt>
              </c:strCache>
            </c:strRef>
          </c:cat>
          <c:val>
            <c:numRef>
              <c:f>Sheet1!$E$2:$E$9</c:f>
              <c:numCache>
                <c:formatCode>General</c:formatCode>
                <c:ptCount val="8"/>
                <c:pt idx="0">
                  <c:v>643.231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Isdin</c:v>
                </c:pt>
                <c:pt idx="1">
                  <c:v>Eucerin</c:v>
                </c:pt>
                <c:pt idx="2">
                  <c:v>La Roche-Posay</c:v>
                </c:pt>
                <c:pt idx="3">
                  <c:v>Nivea</c:v>
                </c:pt>
                <c:pt idx="4">
                  <c:v>Heliocare</c:v>
                </c:pt>
                <c:pt idx="5">
                  <c:v>Photoderm</c:v>
                </c:pt>
                <c:pt idx="6">
                  <c:v>Others Marca Unif.</c:v>
                </c:pt>
                <c:pt idx="7">
                  <c:v>Cetaphil</c:v>
                </c:pt>
              </c:strCache>
            </c:strRef>
          </c:cat>
          <c:val>
            <c:numRef>
              <c:f>Sheet1!$F$2:$F$9</c:f>
              <c:numCache>
                <c:formatCode>General</c:formatCode>
                <c:ptCount val="8"/>
                <c:pt idx="5">
                  <c:v>786.29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Isdin</c:v>
                </c:pt>
                <c:pt idx="1">
                  <c:v>Eucerin</c:v>
                </c:pt>
                <c:pt idx="2">
                  <c:v>La Roche-Posay</c:v>
                </c:pt>
                <c:pt idx="3">
                  <c:v>Nivea</c:v>
                </c:pt>
                <c:pt idx="4">
                  <c:v>Heliocare</c:v>
                </c:pt>
                <c:pt idx="5">
                  <c:v>Photoderm</c:v>
                </c:pt>
                <c:pt idx="6">
                  <c:v>Others Marca Unif.</c:v>
                </c:pt>
                <c:pt idx="7">
                  <c:v>Cetaphil</c:v>
                </c:pt>
              </c:strCache>
            </c:strRef>
          </c:cat>
          <c:val>
            <c:numRef>
              <c:f>Sheet1!$G$2:$G$9</c:f>
              <c:numCache>
                <c:formatCode>General</c:formatCode>
                <c:ptCount val="8"/>
                <c:pt idx="0">
                  <c:v>509.2075</c:v>
                </c:pt>
                <c:pt idx="1">
                  <c:v>648.1964</c:v>
                </c:pt>
                <c:pt idx="2">
                  <c:v>586.3068</c:v>
                </c:pt>
                <c:pt idx="4">
                  <c:v>628.586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Isdin</c:v>
                </c:pt>
                <c:pt idx="1">
                  <c:v>Eucerin</c:v>
                </c:pt>
                <c:pt idx="2">
                  <c:v>La Roche-Posay</c:v>
                </c:pt>
                <c:pt idx="3">
                  <c:v>Nivea</c:v>
                </c:pt>
                <c:pt idx="4">
                  <c:v>Heliocare</c:v>
                </c:pt>
                <c:pt idx="5">
                  <c:v>Photoderm</c:v>
                </c:pt>
                <c:pt idx="6">
                  <c:v>Others Marca Unif.</c:v>
                </c:pt>
                <c:pt idx="7">
                  <c:v>Cetaphil</c:v>
                </c:pt>
              </c:strCache>
            </c:strRef>
          </c:cat>
          <c:val>
            <c:numRef>
              <c:f>Sheet1!$H$2:$H$9</c:f>
              <c:numCache>
                <c:formatCode>General</c:formatCode>
                <c:ptCount val="8"/>
                <c:pt idx="6">
                  <c:v>615.329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Eucerin</c:v>
                </c:pt>
                <c:pt idx="1">
                  <c:v>Photoderm</c:v>
                </c:pt>
              </c:strCache>
            </c:strRef>
          </c:cat>
          <c:val>
            <c:numRef>
              <c:f>Sheet1!$B$2:$B$3</c:f>
              <c:numCache>
                <c:formatCode>General</c:formatCode>
                <c:ptCount val="2"/>
                <c:pt idx="0">
                  <c:v>662.84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Eucerin</c:v>
                </c:pt>
                <c:pt idx="1">
                  <c:v>Photoderm</c:v>
                </c:pt>
              </c:strCache>
            </c:strRef>
          </c:cat>
          <c:val>
            <c:numRef>
              <c:f>Sheet1!$C$2:$C$3</c:f>
              <c:numCache>
                <c:formatCode>General</c:formatCode>
                <c:ptCount val="2"/>
                <c:pt idx="1">
                  <c:v>831.80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Eucerin</c:v>
                </c:pt>
                <c:pt idx="1">
                  <c:v>Photoderm</c:v>
                </c:pt>
              </c:strCache>
            </c:strRef>
          </c:cat>
          <c:val>
            <c:numRef>
              <c:f>Sheet1!$D$2:$D$3</c:f>
              <c:numCache>
                <c:formatCode>General</c:formatCode>
                <c:ptCount val="2"/>
                <c:pt idx="0">
                  <c:v>699.485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B$2:$B$10</c:f>
              <c:numCache>
                <c:formatCode>General</c:formatCode>
                <c:ptCount val="9"/>
                <c:pt idx="0">
                  <c:v>364.9119</c:v>
                </c:pt>
                <c:pt idx="2">
                  <c:v>395.0</c:v>
                </c:pt>
                <c:pt idx="5">
                  <c:v>625.1367</c:v>
                </c:pt>
                <c:pt idx="8">
                  <c:v>530.957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C$2:$C$10</c:f>
              <c:numCache>
                <c:formatCode>General</c:formatCode>
                <c:ptCount val="9"/>
                <c:pt idx="1">
                  <c:v>394.3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D$2:$D$10</c:f>
              <c:numCache>
                <c:formatCode>General</c:formatCode>
                <c:ptCount val="9"/>
                <c:pt idx="0">
                  <c:v>150.7706</c:v>
                </c:pt>
                <c:pt idx="4">
                  <c:v>678.89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E$2:$E$10</c:f>
              <c:numCache>
                <c:formatCode>General</c:formatCode>
                <c:ptCount val="9"/>
                <c:pt idx="3">
                  <c:v>170.668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F$2:$F$10</c:f>
              <c:numCache>
                <c:formatCode>General</c:formatCode>
                <c:ptCount val="9"/>
                <c:pt idx="0">
                  <c:v>263.8422</c:v>
                </c:pt>
                <c:pt idx="8">
                  <c:v>520.664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G$2:$G$10</c:f>
              <c:numCache>
                <c:formatCode>General</c:formatCode>
                <c:ptCount val="9"/>
                <c:pt idx="1">
                  <c:v>300.64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H$2:$H$10</c:f>
              <c:numCache>
                <c:formatCode>General</c:formatCode>
                <c:ptCount val="9"/>
                <c:pt idx="0">
                  <c:v>247.3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8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I$2:$I$10</c:f>
              <c:numCache>
                <c:formatCode>General</c:formatCode>
                <c:ptCount val="9"/>
                <c:pt idx="0">
                  <c:v>296.991</c:v>
                </c:pt>
                <c:pt idx="1">
                  <c:v>254.4964</c:v>
                </c:pt>
                <c:pt idx="2">
                  <c:v>551.16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J$2:$J$10</c:f>
              <c:numCache>
                <c:formatCode>General</c:formatCode>
                <c:ptCount val="9"/>
                <c:pt idx="3">
                  <c:v>337.2217</c:v>
                </c:pt>
                <c:pt idx="4">
                  <c:v>402.146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K$2:$K$10</c:f>
              <c:numCache>
                <c:formatCode>General</c:formatCode>
                <c:ptCount val="9"/>
                <c:pt idx="0">
                  <c:v>303.9672</c:v>
                </c:pt>
                <c:pt idx="1">
                  <c:v>323.095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36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L$2:$L$10</c:f>
              <c:numCache>
                <c:formatCode>General</c:formatCode>
                <c:ptCount val="9"/>
                <c:pt idx="1">
                  <c:v>117.0</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M$2:$M$10</c:f>
              <c:numCache>
                <c:formatCode>General</c:formatCode>
                <c:ptCount val="9"/>
                <c:pt idx="0">
                  <c:v>291.2631</c:v>
                </c:pt>
                <c:pt idx="1">
                  <c:v>278.94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N$2:$N$10</c:f>
              <c:numCache>
                <c:formatCode>General</c:formatCode>
                <c:ptCount val="9"/>
                <c:pt idx="6">
                  <c:v>1301.0479</c:v>
                </c:pt>
                <c:pt idx="7">
                  <c:v>614.755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O$2:$O$10</c:f>
              <c:numCache>
                <c:formatCode>General</c:formatCode>
                <c:ptCount val="9"/>
                <c:pt idx="0">
                  <c:v>340.8083</c:v>
                </c:pt>
                <c:pt idx="2">
                  <c:v>277.0625</c:v>
                </c:pt>
                <c:pt idx="4">
                  <c:v>1096.407</c:v>
                </c:pt>
                <c:pt idx="5">
                  <c:v>665.4957</c:v>
                </c:pt>
                <c:pt idx="6">
                  <c:v>709.813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P$2:$P$10</c:f>
              <c:numCache>
                <c:formatCode>General</c:formatCode>
                <c:ptCount val="9"/>
                <c:pt idx="0">
                  <c:v>64.4328</c:v>
                </c:pt>
                <c:pt idx="1">
                  <c:v>69.034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Beauty Care</c:v>
                </c:pt>
                <c:pt idx="3">
                  <c:v>Nivea</c:v>
                </c:pt>
                <c:pt idx="4">
                  <c:v>Others Marca Unif.</c:v>
                </c:pt>
                <c:pt idx="5">
                  <c:v>Isdin</c:v>
                </c:pt>
                <c:pt idx="6">
                  <c:v>La Roche-Posay</c:v>
                </c:pt>
                <c:pt idx="7">
                  <c:v>Avene</c:v>
                </c:pt>
                <c:pt idx="8">
                  <c:v>Cetaphil</c:v>
                </c:pt>
              </c:strCache>
            </c:strRef>
          </c:cat>
          <c:val>
            <c:numRef>
              <c:f>Sheet1!$Q$2:$Q$10</c:f>
              <c:numCache>
                <c:formatCode>General</c:formatCode>
                <c:ptCount val="9"/>
                <c:pt idx="0">
                  <c:v>123.864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B$2:$B$8</c:f>
              <c:numCache>
                <c:formatCode>General</c:formatCode>
                <c:ptCount val="7"/>
                <c:pt idx="4">
                  <c:v>213.4111</c:v>
                </c:pt>
                <c:pt idx="5">
                  <c:v>389.09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C$2:$C$8</c:f>
              <c:numCache>
                <c:formatCode>General</c:formatCode>
                <c:ptCount val="7"/>
                <c:pt idx="2">
                  <c:v>855.62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D$2:$D$8</c:f>
              <c:numCache>
                <c:formatCode>General</c:formatCode>
                <c:ptCount val="7"/>
                <c:pt idx="0">
                  <c:v>384.833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7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E$2:$E$8</c:f>
              <c:numCache>
                <c:formatCode>General</c:formatCode>
                <c:ptCount val="7"/>
                <c:pt idx="4">
                  <c:v>430.7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F$2:$F$8</c:f>
              <c:numCache>
                <c:formatCode>General</c:formatCode>
                <c:ptCount val="7"/>
                <c:pt idx="0">
                  <c:v>307.968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G$2:$G$8</c:f>
              <c:numCache>
                <c:formatCode>General</c:formatCode>
                <c:ptCount val="7"/>
                <c:pt idx="1">
                  <c:v>633.0975</c:v>
                </c:pt>
                <c:pt idx="3">
                  <c:v>797.4909</c:v>
                </c:pt>
                <c:pt idx="4">
                  <c:v>299.3835</c:v>
                </c:pt>
                <c:pt idx="6">
                  <c:v>264.618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H$2:$H$8</c:f>
              <c:numCache>
                <c:formatCode>General</c:formatCode>
                <c:ptCount val="7"/>
                <c:pt idx="0">
                  <c:v>296.33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I$2:$I$8</c:f>
              <c:numCache>
                <c:formatCode>General</c:formatCode>
                <c:ptCount val="7"/>
                <c:pt idx="1">
                  <c:v>657.273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J$2:$J$8</c:f>
              <c:numCache>
                <c:formatCode>General</c:formatCode>
                <c:ptCount val="7"/>
                <c:pt idx="4">
                  <c:v>49.27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K$2:$K$8</c:f>
              <c:numCache>
                <c:formatCode>General</c:formatCode>
                <c:ptCount val="7"/>
                <c:pt idx="5">
                  <c:v>420.81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L$2:$L$8</c:f>
              <c:numCache>
                <c:formatCode>General</c:formatCode>
                <c:ptCount val="7"/>
                <c:pt idx="0">
                  <c:v>69.3</c:v>
                </c:pt>
                <c:pt idx="2">
                  <c:v>316.251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5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Eclipsol</c:v>
                </c:pt>
                <c:pt idx="3">
                  <c:v>La Roche-Posay</c:v>
                </c:pt>
                <c:pt idx="4">
                  <c:v>Others Marca Unif.</c:v>
                </c:pt>
                <c:pt idx="5">
                  <c:v>Mustela</c:v>
                </c:pt>
                <c:pt idx="6">
                  <c:v>Australian Gold</c:v>
                </c:pt>
              </c:strCache>
            </c:strRef>
          </c:cat>
          <c:val>
            <c:numRef>
              <c:f>Sheet1!$M$2:$M$8</c:f>
              <c:numCache>
                <c:formatCode>General</c:formatCode>
                <c:ptCount val="7"/>
                <c:pt idx="3">
                  <c:v>586.4102</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498.214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68.092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arnier</c:v>
                </c:pt>
                <c:pt idx="1">
                  <c:v>Others Marca Unif.</c:v>
                </c:pt>
              </c:strCache>
            </c:strRef>
          </c:cat>
          <c:val>
            <c:numRef>
              <c:f>Sheet1!$B$2:$B$3</c:f>
              <c:numCache>
                <c:formatCode>General</c:formatCode>
                <c:ptCount val="2"/>
                <c:pt idx="0">
                  <c:v>234.55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Garnier</c:v>
                </c:pt>
                <c:pt idx="1">
                  <c:v>Others Marca Unif.</c:v>
                </c:pt>
              </c:strCache>
            </c:strRef>
          </c:cat>
          <c:val>
            <c:numRef>
              <c:f>Sheet1!$C$2:$C$3</c:f>
              <c:numCache>
                <c:formatCode>General</c:formatCode>
                <c:ptCount val="2"/>
                <c:pt idx="1">
                  <c:v>617.2735</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hotoderm</c:v>
                </c:pt>
                <c:pt idx="1">
                  <c:v>La Roche-Posay</c:v>
                </c:pt>
                <c:pt idx="2">
                  <c:v>Genove</c:v>
                </c:pt>
                <c:pt idx="3">
                  <c:v>Others Marca Unif.</c:v>
                </c:pt>
              </c:strCache>
            </c:strRef>
          </c:cat>
          <c:val>
            <c:numRef>
              <c:f>Sheet1!$B$2:$B$5</c:f>
              <c:numCache>
                <c:formatCode>General</c:formatCode>
                <c:ptCount val="4"/>
                <c:pt idx="2">
                  <c:v>631.07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Photoderm</c:v>
                </c:pt>
                <c:pt idx="1">
                  <c:v>La Roche-Posay</c:v>
                </c:pt>
                <c:pt idx="2">
                  <c:v>Genove</c:v>
                </c:pt>
                <c:pt idx="3">
                  <c:v>Others Marca Unif.</c:v>
                </c:pt>
              </c:strCache>
            </c:strRef>
          </c:cat>
          <c:val>
            <c:numRef>
              <c:f>Sheet1!$C$2:$C$5</c:f>
              <c:numCache>
                <c:formatCode>General</c:formatCode>
                <c:ptCount val="4"/>
                <c:pt idx="0">
                  <c:v>779.0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hotoderm</c:v>
                </c:pt>
                <c:pt idx="1">
                  <c:v>La Roche-Posay</c:v>
                </c:pt>
                <c:pt idx="2">
                  <c:v>Genove</c:v>
                </c:pt>
                <c:pt idx="3">
                  <c:v>Others Marca Unif.</c:v>
                </c:pt>
              </c:strCache>
            </c:strRef>
          </c:cat>
          <c:val>
            <c:numRef>
              <c:f>Sheet1!$D$2:$D$5</c:f>
              <c:numCache>
                <c:formatCode>General</c:formatCode>
                <c:ptCount val="4"/>
                <c:pt idx="0">
                  <c:v>893.7877</c:v>
                </c:pt>
                <c:pt idx="1">
                  <c:v>1110.2319</c:v>
                </c:pt>
                <c:pt idx="3">
                  <c:v>306.41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hotoderm</c:v>
                </c:pt>
                <c:pt idx="1">
                  <c:v>La Roche-Posay</c:v>
                </c:pt>
                <c:pt idx="2">
                  <c:v>Genove</c:v>
                </c:pt>
                <c:pt idx="3">
                  <c:v>Others Marca Unif.</c:v>
                </c:pt>
              </c:strCache>
            </c:strRef>
          </c:cat>
          <c:val>
            <c:numRef>
              <c:f>Sheet1!$E$2:$E$5</c:f>
              <c:numCache>
                <c:formatCode>General</c:formatCode>
                <c:ptCount val="4"/>
                <c:pt idx="0">
                  <c:v>731.06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Photoderm</c:v>
                </c:pt>
                <c:pt idx="1">
                  <c:v>La Roche-Posay</c:v>
                </c:pt>
                <c:pt idx="2">
                  <c:v>Genove</c:v>
                </c:pt>
                <c:pt idx="3">
                  <c:v>Others Marca Unif.</c:v>
                </c:pt>
              </c:strCache>
            </c:strRef>
          </c:cat>
          <c:val>
            <c:numRef>
              <c:f>Sheet1!$F$2:$F$5</c:f>
              <c:numCache>
                <c:formatCode>General</c:formatCode>
                <c:ptCount val="4"/>
                <c:pt idx="0">
                  <c:v>1201.728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sdin</c:v>
                </c:pt>
                <c:pt idx="1">
                  <c:v>Heliocare</c:v>
                </c:pt>
                <c:pt idx="2">
                  <c:v>Others Marca Unif.</c:v>
                </c:pt>
              </c:strCache>
            </c:strRef>
          </c:cat>
          <c:val>
            <c:numRef>
              <c:f>Sheet1!$B$2:$B$4</c:f>
              <c:numCache>
                <c:formatCode>General</c:formatCode>
                <c:ptCount val="3"/>
                <c:pt idx="0">
                  <c:v>489.36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sdin</c:v>
                </c:pt>
                <c:pt idx="1">
                  <c:v>Heliocare</c:v>
                </c:pt>
                <c:pt idx="2">
                  <c:v>Others Marca Unif.</c:v>
                </c:pt>
              </c:strCache>
            </c:strRef>
          </c:cat>
          <c:val>
            <c:numRef>
              <c:f>Sheet1!$C$2:$C$4</c:f>
              <c:numCache>
                <c:formatCode>General</c:formatCode>
                <c:ptCount val="3"/>
                <c:pt idx="2">
                  <c:v>342.13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9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Heliocare</c:v>
                </c:pt>
                <c:pt idx="2">
                  <c:v>Others Marca Unif.</c:v>
                </c:pt>
              </c:strCache>
            </c:strRef>
          </c:cat>
          <c:val>
            <c:numRef>
              <c:f>Sheet1!$D$2:$D$4</c:f>
              <c:numCache>
                <c:formatCode>General</c:formatCode>
                <c:ptCount val="3"/>
                <c:pt idx="2">
                  <c:v>602.891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Isdin</c:v>
                </c:pt>
                <c:pt idx="1">
                  <c:v>Heliocare</c:v>
                </c:pt>
                <c:pt idx="2">
                  <c:v>Others Marca Unif.</c:v>
                </c:pt>
              </c:strCache>
            </c:strRef>
          </c:cat>
          <c:val>
            <c:numRef>
              <c:f>Sheet1!$E$2:$E$4</c:f>
              <c:numCache>
                <c:formatCode>General</c:formatCode>
                <c:ptCount val="3"/>
                <c:pt idx="2">
                  <c:v>260.88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Isdin</c:v>
                </c:pt>
                <c:pt idx="1">
                  <c:v>Heliocare</c:v>
                </c:pt>
                <c:pt idx="2">
                  <c:v>Others Marca Unif.</c:v>
                </c:pt>
              </c:strCache>
            </c:strRef>
          </c:cat>
          <c:val>
            <c:numRef>
              <c:f>Sheet1!$F$2:$F$4</c:f>
              <c:numCache>
                <c:formatCode>General</c:formatCode>
                <c:ptCount val="3"/>
                <c:pt idx="1">
                  <c:v>555.083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Isdin</c:v>
                </c:pt>
                <c:pt idx="1">
                  <c:v>Heliocare</c:v>
                </c:pt>
                <c:pt idx="2">
                  <c:v>Others Marca Unif.</c:v>
                </c:pt>
              </c:strCache>
            </c:strRef>
          </c:cat>
          <c:val>
            <c:numRef>
              <c:f>Sheet1!$G$2:$G$4</c:f>
              <c:numCache>
                <c:formatCode>General</c:formatCode>
                <c:ptCount val="3"/>
                <c:pt idx="2">
                  <c:v>871.722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B$2:$B$10</c:f>
              <c:numCache>
                <c:formatCode>General</c:formatCode>
                <c:ptCount val="9"/>
                <c:pt idx="2">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C$2:$C$10</c:f>
              <c:numCache>
                <c:formatCode>General</c:formatCode>
                <c:ptCount val="9"/>
                <c:pt idx="1">
                  <c:v>156.2336</c:v>
                </c:pt>
                <c:pt idx="6">
                  <c:v>96.87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D$2:$D$10</c:f>
              <c:numCache>
                <c:formatCode>General</c:formatCode>
                <c:ptCount val="9"/>
                <c:pt idx="2">
                  <c:v>135.8572</c:v>
                </c:pt>
                <c:pt idx="7">
                  <c:v>291.05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E$2:$E$10</c:f>
              <c:numCache>
                <c:formatCode>General</c:formatCode>
                <c:ptCount val="9"/>
                <c:pt idx="5">
                  <c:v>90.7077</c:v>
                </c:pt>
                <c:pt idx="8">
                  <c:v>57.91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F$2:$F$10</c:f>
              <c:numCache>
                <c:formatCode>General</c:formatCode>
                <c:ptCount val="9"/>
                <c:pt idx="0">
                  <c:v>268.921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G$2:$G$10</c:f>
              <c:numCache>
                <c:formatCode>General</c:formatCode>
                <c:ptCount val="9"/>
                <c:pt idx="3">
                  <c:v>268.17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H$2:$H$10</c:f>
              <c:numCache>
                <c:formatCode>General</c:formatCode>
                <c:ptCount val="9"/>
                <c:pt idx="0">
                  <c:v>242.172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I$2:$I$10</c:f>
              <c:numCache>
                <c:formatCode>General</c:formatCode>
                <c:ptCount val="9"/>
                <c:pt idx="1">
                  <c:v>226.769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J$2:$J$10</c:f>
              <c:numCache>
                <c:formatCode>General</c:formatCode>
                <c:ptCount val="9"/>
                <c:pt idx="5">
                  <c:v>161.052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K$2:$K$10</c:f>
              <c:numCache>
                <c:formatCode>General</c:formatCode>
                <c:ptCount val="9"/>
                <c:pt idx="3">
                  <c:v>254.462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L$2:$L$10</c:f>
              <c:numCache>
                <c:formatCode>General</c:formatCode>
                <c:ptCount val="9"/>
                <c:pt idx="2">
                  <c:v>93.1024</c:v>
                </c:pt>
                <c:pt idx="3">
                  <c:v>231.3578</c:v>
                </c:pt>
                <c:pt idx="4">
                  <c:v>427.954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M$2:$M$10</c:f>
              <c:numCache>
                <c:formatCode>General</c:formatCode>
                <c:ptCount val="9"/>
                <c:pt idx="2">
                  <c:v>97.3934</c:v>
                </c:pt>
                <c:pt idx="5">
                  <c:v>50.787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Hawaiian Tropic</c:v>
                </c:pt>
                <c:pt idx="2">
                  <c:v>Others Marca Unif.</c:v>
                </c:pt>
                <c:pt idx="3">
                  <c:v>Nivea</c:v>
                </c:pt>
                <c:pt idx="4">
                  <c:v>Isdin</c:v>
                </c:pt>
                <c:pt idx="5">
                  <c:v>Caribbean Beach</c:v>
                </c:pt>
                <c:pt idx="6">
                  <c:v>Nuvel</c:v>
                </c:pt>
                <c:pt idx="7">
                  <c:v>Eclipsol</c:v>
                </c:pt>
                <c:pt idx="8">
                  <c:v>Total Care De Mexico: All Others</c:v>
                </c:pt>
              </c:strCache>
            </c:strRef>
          </c:cat>
          <c:val>
            <c:numRef>
              <c:f>Sheet1!$N$2:$N$10</c:f>
              <c:numCache>
                <c:formatCode>General</c:formatCode>
                <c:ptCount val="9"/>
                <c:pt idx="2">
                  <c:v>69.8118</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0.79</a:t>
                    </a:r>
                  </a:p>
                </c:rich>
              </c:tx>
              <c:dLblPos val="t"/>
              <c:showLegendKey val="0"/>
              <c:showVal val="1"/>
              <c:showCatName val="0"/>
              <c:showSerName val="0"/>
              <c:showPercent val="0"/>
              <c:showBubbleSize val="0"/>
            </c:dLbl>
            <c:dLbl>
              <c:idx val="1"/>
              <c:tx>
                <c:rich>
                  <a:bodyPr/>
                  <a:lstStyle/>
                  <a:p>
                    <a:r>
                      <a:t>307.77</a:t>
                    </a:r>
                  </a:p>
                </c:rich>
              </c:tx>
              <c:dLblPos val="t"/>
              <c:showLegendKey val="0"/>
              <c:showVal val="1"/>
              <c:showCatName val="0"/>
              <c:showSerName val="0"/>
              <c:showPercent val="0"/>
              <c:showBubbleSize val="0"/>
            </c:dLbl>
            <c:dLbl>
              <c:idx val="2"/>
              <c:tx>
                <c:rich>
                  <a:bodyPr/>
                  <a:lstStyle/>
                  <a:p>
                    <a:r>
                      <a:t>271.52</a:t>
                    </a:r>
                  </a:p>
                </c:rich>
              </c:tx>
              <c:dLblPos val="t"/>
              <c:showLegendKey val="0"/>
              <c:showVal val="1"/>
              <c:showCatName val="0"/>
              <c:showSerName val="0"/>
              <c:showPercent val="0"/>
              <c:showBubbleSize val="0"/>
            </c:dLbl>
            <c:dLbl>
              <c:idx val="3"/>
              <c:tx>
                <c:rich>
                  <a:bodyPr/>
                  <a:lstStyle/>
                  <a:p>
                    <a:r>
                      <a:t>264.78</a:t>
                    </a:r>
                  </a:p>
                </c:rich>
              </c:tx>
              <c:dLblPos val="t"/>
              <c:showLegendKey val="0"/>
              <c:showVal val="1"/>
              <c:showCatName val="0"/>
              <c:showSerName val="0"/>
              <c:showPercent val="0"/>
              <c:showBubbleSize val="0"/>
            </c:dLbl>
            <c:dLbl>
              <c:idx val="4"/>
              <c:tx>
                <c:rich>
                  <a:bodyPr/>
                  <a:lstStyle/>
                  <a:p>
                    <a:r>
                      <a:t>308.34</a:t>
                    </a:r>
                  </a:p>
                </c:rich>
              </c:tx>
              <c:dLblPos val="t"/>
              <c:showLegendKey val="0"/>
              <c:showVal val="1"/>
              <c:showCatName val="0"/>
              <c:showSerName val="0"/>
              <c:showPercent val="0"/>
              <c:showBubbleSize val="0"/>
            </c:dLbl>
            <c:dLbl>
              <c:idx val="5"/>
              <c:tx>
                <c:rich>
                  <a:bodyPr/>
                  <a:lstStyle/>
                  <a:p>
                    <a:r>
                      <a:t>308.61</a:t>
                    </a:r>
                  </a:p>
                </c:rich>
              </c:tx>
              <c:dLblPos val="t"/>
              <c:showLegendKey val="0"/>
              <c:showVal val="1"/>
              <c:showCatName val="0"/>
              <c:showSerName val="0"/>
              <c:showPercent val="0"/>
              <c:showBubbleSize val="0"/>
            </c:dLbl>
            <c:dLbl>
              <c:idx val="6"/>
              <c:tx>
                <c:rich>
                  <a:bodyPr/>
                  <a:lstStyle/>
                  <a:p>
                    <a:r>
                      <a:t>275.98</a:t>
                    </a:r>
                  </a:p>
                </c:rich>
              </c:tx>
              <c:dLblPos val="t"/>
              <c:showLegendKey val="0"/>
              <c:showVal val="1"/>
              <c:showCatName val="0"/>
              <c:showSerName val="0"/>
              <c:showPercent val="0"/>
              <c:showBubbleSize val="0"/>
            </c:dLbl>
            <c:dLbl>
              <c:idx val="7"/>
              <c:tx>
                <c:rich>
                  <a:bodyPr/>
                  <a:lstStyle/>
                  <a:p>
                    <a:r>
                      <a:t>87.0</a:t>
                    </a:r>
                  </a:p>
                </c:rich>
              </c:tx>
              <c:dLblPos val="t"/>
              <c:showLegendKey val="0"/>
              <c:showVal val="1"/>
              <c:showCatName val="0"/>
              <c:showSerName val="0"/>
              <c:showPercent val="0"/>
              <c:showBubbleSize val="0"/>
            </c:dLbl>
            <c:dLbl>
              <c:idx val="8"/>
              <c:tx>
                <c:rich>
                  <a:bodyPr/>
                  <a:lstStyle/>
                  <a:p>
                    <a:r>
                      <a:t>306.36</a:t>
                    </a:r>
                  </a:p>
                </c:rich>
              </c:tx>
              <c:dLblPos val="t"/>
              <c:showLegendKey val="0"/>
              <c:showVal val="1"/>
              <c:showCatName val="0"/>
              <c:showSerName val="0"/>
              <c:showPercent val="0"/>
              <c:showBubbleSize val="0"/>
            </c:dLbl>
            <c:dLbl>
              <c:idx val="9"/>
              <c:tx>
                <c:rich>
                  <a:bodyPr/>
                  <a:lstStyle/>
                  <a:p>
                    <a:r>
                      <a:t>240.01</a:t>
                    </a:r>
                  </a:p>
                </c:rich>
              </c:tx>
              <c:dLblPos val="t"/>
              <c:showLegendKey val="0"/>
              <c:showVal val="1"/>
              <c:showCatName val="0"/>
              <c:showSerName val="0"/>
              <c:showPercent val="0"/>
              <c:showBubbleSize val="0"/>
            </c:dLbl>
            <c:dLbl>
              <c:idx val="10"/>
              <c:tx>
                <c:rich>
                  <a:bodyPr/>
                  <a:lstStyle/>
                  <a:p>
                    <a:r>
                      <a:t>246.34</a:t>
                    </a:r>
                  </a:p>
                </c:rich>
              </c:tx>
              <c:dLblPos val="t"/>
              <c:showLegendKey val="0"/>
              <c:showVal val="1"/>
              <c:showCatName val="0"/>
              <c:showSerName val="0"/>
              <c:showPercent val="0"/>
              <c:showBubbleSize val="0"/>
            </c:dLbl>
            <c:dLbl>
              <c:idx val="11"/>
              <c:tx>
                <c:rich>
                  <a:bodyPr/>
                  <a:lstStyle/>
                  <a:p>
                    <a:r>
                      <a:t>306.48</a:t>
                    </a:r>
                  </a:p>
                </c:rich>
              </c:tx>
              <c:dLblPos val="t"/>
              <c:showLegendKey val="0"/>
              <c:showVal val="1"/>
              <c:showCatName val="0"/>
              <c:showSerName val="0"/>
              <c:showPercent val="0"/>
              <c:showBubbleSize val="0"/>
            </c:dLbl>
            <c:dLbl>
              <c:idx val="12"/>
              <c:tx>
                <c:rich>
                  <a:bodyPr/>
                  <a:lstStyle/>
                  <a:p>
                    <a:r>
                      <a:t>305.8</a:t>
                    </a:r>
                  </a:p>
                </c:rich>
              </c:tx>
              <c:dLblPos val="t"/>
              <c:showLegendKey val="0"/>
              <c:showVal val="1"/>
              <c:showCatName val="0"/>
              <c:showSerName val="0"/>
              <c:showPercent val="0"/>
              <c:showBubbleSize val="0"/>
            </c:dLbl>
            <c:dLbl>
              <c:idx val="13"/>
              <c:tx>
                <c:rich>
                  <a:bodyPr/>
                  <a:lstStyle/>
                  <a:p>
                    <a:r>
                      <a:t>287.58</a:t>
                    </a:r>
                  </a:p>
                </c:rich>
              </c:tx>
              <c:dLblPos val="t"/>
              <c:showLegendKey val="0"/>
              <c:showVal val="1"/>
              <c:showCatName val="0"/>
              <c:showSerName val="0"/>
              <c:showPercent val="0"/>
              <c:showBubbleSize val="0"/>
            </c:dLbl>
            <c:dLbl>
              <c:idx val="14"/>
              <c:tx>
                <c:rich>
                  <a:bodyPr/>
                  <a:lstStyle/>
                  <a:p>
                    <a:r>
                      <a:t>130.0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Banded Pack Banded Pack 2X Sunscreen Multi 50+ 236Ml</c:v>
                </c:pt>
                <c:pt idx="4">
                  <c:v>Edgewell Banana Boat Dry Balance Sunscreen Adults Sport Spray Liquido 50 220Ml</c:v>
                </c:pt>
                <c:pt idx="5">
                  <c:v>Edgewell Banana Boat Aqua Protect Sunscreen Adults Cosmetics Spray Liquido 50+ 170Ml</c:v>
                </c:pt>
                <c:pt idx="6">
                  <c:v>Edgewell Banana Boat Advanced Protection Sunscreen Adults Cosmetics Liquido 50+ 240Ml</c:v>
                </c:pt>
                <c:pt idx="7">
                  <c:v>Edgewell Banana Boat Advanced Protection Sunscreen Adults Cosmetics Liquido 50+ 60Ml</c:v>
                </c:pt>
                <c:pt idx="8">
                  <c:v>Edgewell Banana Boat Mineral Sunscreen Adults Cosmetics Locion 50 180Ml</c:v>
                </c:pt>
                <c:pt idx="9">
                  <c:v>Edgewell Banana Boat Kids Sport Sunscreen Kids Cosmetics Crema 50 180Ml</c:v>
                </c:pt>
                <c:pt idx="10">
                  <c:v>Edgewell Banana Boat Advanced Protection Sunscreen Adults Cosmetics Liquido 50 180Ml</c:v>
                </c:pt>
                <c:pt idx="11">
                  <c:v>Edgewell Banana Boat Mineral Sunscreen Adults Sport Locion 50 180Ml</c:v>
                </c:pt>
                <c:pt idx="12">
                  <c:v>Edgewell Banana Boat Mineral Sunscreen Kids Cosmetics Locion 50 180Ml</c:v>
                </c:pt>
                <c:pt idx="13">
                  <c:v>Edgewell Banana Boat Dry Balance Sunscreen Adults Sport Crema 50+ 180Ml</c:v>
                </c:pt>
                <c:pt idx="14">
                  <c:v>Edgewell Banana Boat After Sun After Sun Adults Cosmetics Gel 0 - 5 230Ml</c:v>
                </c:pt>
              </c:strCache>
            </c:strRef>
          </c:cat>
          <c:val>
            <c:numRef>
              <c:f>Sheet1!$B$2:$B$16</c:f>
              <c:numCache>
                <c:formatCode>General</c:formatCode>
                <c:ptCount val="15"/>
                <c:pt idx="0">
                  <c:v>270.79</c:v>
                </c:pt>
                <c:pt idx="1">
                  <c:v>307.77</c:v>
                </c:pt>
                <c:pt idx="2">
                  <c:v>271.52</c:v>
                </c:pt>
                <c:pt idx="3">
                  <c:v>264.78</c:v>
                </c:pt>
                <c:pt idx="4">
                  <c:v>308.34</c:v>
                </c:pt>
                <c:pt idx="5">
                  <c:v>308.61</c:v>
                </c:pt>
                <c:pt idx="6">
                  <c:v>275.98</c:v>
                </c:pt>
                <c:pt idx="7">
                  <c:v>87.0</c:v>
                </c:pt>
                <c:pt idx="8">
                  <c:v>306.36</c:v>
                </c:pt>
                <c:pt idx="9">
                  <c:v>240.01</c:v>
                </c:pt>
                <c:pt idx="10">
                  <c:v>246.34</c:v>
                </c:pt>
                <c:pt idx="11">
                  <c:v>306.48</c:v>
                </c:pt>
                <c:pt idx="12">
                  <c:v>305.8</c:v>
                </c:pt>
                <c:pt idx="13">
                  <c:v>287.58</c:v>
                </c:pt>
                <c:pt idx="14">
                  <c:v>130.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Isdin</c:v>
                </c:pt>
              </c:strCache>
            </c:strRef>
          </c:cat>
          <c:val>
            <c:numRef>
              <c:f>Sheet1!$B$2:$B$2</c:f>
              <c:numCache>
                <c:formatCode>General</c:formatCode>
                <c:ptCount val="1"/>
                <c:pt idx="0">
                  <c:v>650.38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Isdin</c:v>
                </c:pt>
              </c:strCache>
            </c:strRef>
          </c:cat>
          <c:val>
            <c:numRef>
              <c:f>Sheet1!$B$2:$B$3</c:f>
              <c:numCache>
                <c:formatCode>General</c:formatCode>
                <c:ptCount val="2"/>
                <c:pt idx="0">
                  <c:v>280.43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Nivea</c:v>
                </c:pt>
                <c:pt idx="1">
                  <c:v>Isdin</c:v>
                </c:pt>
              </c:strCache>
            </c:strRef>
          </c:cat>
          <c:val>
            <c:numRef>
              <c:f>Sheet1!$C$2:$C$3</c:f>
              <c:numCache>
                <c:formatCode>General</c:formatCode>
                <c:ptCount val="2"/>
                <c:pt idx="0">
                  <c:v>176.31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Isdin</c:v>
                </c:pt>
              </c:strCache>
            </c:strRef>
          </c:cat>
          <c:val>
            <c:numRef>
              <c:f>Sheet1!$D$2:$D$3</c:f>
              <c:numCache>
                <c:formatCode>General</c:formatCode>
                <c:ptCount val="2"/>
                <c:pt idx="1">
                  <c:v>465.668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B$2:$B$5</c:f>
              <c:numCache>
                <c:formatCode>General</c:formatCode>
                <c:ptCount val="4"/>
                <c:pt idx="2">
                  <c:v>205.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awaiian Tropic</c:v>
                </c:pt>
                <c:pt idx="1">
                  <c:v>Banana Boat</c:v>
                </c:pt>
                <c:pt idx="2">
                  <c:v>Beauty Care</c:v>
                </c:pt>
                <c:pt idx="3">
                  <c:v>Nivea</c:v>
                </c:pt>
              </c:strCache>
            </c:strRef>
          </c:cat>
          <c:val>
            <c:numRef>
              <c:f>Sheet1!$C$2:$C$5</c:f>
              <c:numCache>
                <c:formatCode>General</c:formatCode>
                <c:ptCount val="4"/>
                <c:pt idx="3">
                  <c:v>169.537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D$2:$D$5</c:f>
              <c:numCache>
                <c:formatCode>General</c:formatCode>
                <c:ptCount val="4"/>
                <c:pt idx="1">
                  <c:v>196.37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E$2:$E$5</c:f>
              <c:numCache>
                <c:formatCode>General</c:formatCode>
                <c:ptCount val="4"/>
                <c:pt idx="0">
                  <c:v>195.6678</c:v>
                </c:pt>
                <c:pt idx="1">
                  <c:v>191.65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Hawaiian Tropic</c:v>
                </c:pt>
                <c:pt idx="1">
                  <c:v>Banana Boat</c:v>
                </c:pt>
                <c:pt idx="2">
                  <c:v>Beauty Care</c:v>
                </c:pt>
                <c:pt idx="3">
                  <c:v>Nivea</c:v>
                </c:pt>
              </c:strCache>
            </c:strRef>
          </c:cat>
          <c:val>
            <c:numRef>
              <c:f>Sheet1!$F$2:$F$5</c:f>
              <c:numCache>
                <c:formatCode>General</c:formatCode>
                <c:ptCount val="4"/>
                <c:pt idx="3">
                  <c:v>289.748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G$2:$G$5</c:f>
              <c:numCache>
                <c:formatCode>General</c:formatCode>
                <c:ptCount val="4"/>
                <c:pt idx="0">
                  <c:v>22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H$2:$H$5</c:f>
              <c:numCache>
                <c:formatCode>General</c:formatCode>
                <c:ptCount val="4"/>
                <c:pt idx="0">
                  <c:v>229.8458</c:v>
                </c:pt>
                <c:pt idx="1">
                  <c:v>157.93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Hawaiian Tropic</c:v>
                </c:pt>
                <c:pt idx="1">
                  <c:v>Banana Boat</c:v>
                </c:pt>
                <c:pt idx="2">
                  <c:v>Beauty Care</c:v>
                </c:pt>
                <c:pt idx="3">
                  <c:v>Nivea</c:v>
                </c:pt>
              </c:strCache>
            </c:strRef>
          </c:cat>
          <c:val>
            <c:numRef>
              <c:f>Sheet1!$I$2:$I$5</c:f>
              <c:numCache>
                <c:formatCode>General</c:formatCode>
                <c:ptCount val="4"/>
                <c:pt idx="0">
                  <c:v>97.0141</c:v>
                </c:pt>
                <c:pt idx="1">
                  <c:v>93.56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9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Hawaiian Tropic</c:v>
                </c:pt>
                <c:pt idx="1">
                  <c:v>Banana Boat</c:v>
                </c:pt>
                <c:pt idx="2">
                  <c:v>Beauty Care</c:v>
                </c:pt>
                <c:pt idx="3">
                  <c:v>Nivea</c:v>
                </c:pt>
              </c:strCache>
            </c:strRef>
          </c:cat>
          <c:val>
            <c:numRef>
              <c:f>Sheet1!$J$2:$J$5</c:f>
              <c:numCache>
                <c:formatCode>General</c:formatCode>
                <c:ptCount val="4"/>
                <c:pt idx="0">
                  <c:v>88.5155</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anana Boat</c:v>
                </c:pt>
                <c:pt idx="1">
                  <c:v>All Others</c:v>
                </c:pt>
                <c:pt idx="2">
                  <c:v>Neutrogena</c:v>
                </c:pt>
              </c:strCache>
            </c:strRef>
          </c:cat>
          <c:val>
            <c:numRef>
              <c:f>Sheet1!$B$2:$B$4</c:f>
              <c:numCache>
                <c:formatCode>General</c:formatCode>
                <c:ptCount val="3"/>
                <c:pt idx="0">
                  <c:v>296.38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Banana Boat</c:v>
                </c:pt>
                <c:pt idx="1">
                  <c:v>All Others</c:v>
                </c:pt>
                <c:pt idx="2">
                  <c:v>Neutrogena</c:v>
                </c:pt>
              </c:strCache>
            </c:strRef>
          </c:cat>
          <c:val>
            <c:numRef>
              <c:f>Sheet1!$C$2:$C$4</c:f>
              <c:numCache>
                <c:formatCode>General</c:formatCode>
                <c:ptCount val="3"/>
                <c:pt idx="0">
                  <c:v>216.865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98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All Others</c:v>
                </c:pt>
                <c:pt idx="2">
                  <c:v>Neutrogena</c:v>
                </c:pt>
              </c:strCache>
            </c:strRef>
          </c:cat>
          <c:val>
            <c:numRef>
              <c:f>Sheet1!$D$2:$D$4</c:f>
              <c:numCache>
                <c:formatCode>General</c:formatCode>
                <c:ptCount val="3"/>
                <c:pt idx="2">
                  <c:v>350.61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7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Banana Boat</c:v>
                </c:pt>
                <c:pt idx="1">
                  <c:v>All Others</c:v>
                </c:pt>
                <c:pt idx="2">
                  <c:v>Neutrogena</c:v>
                </c:pt>
              </c:strCache>
            </c:strRef>
          </c:cat>
          <c:val>
            <c:numRef>
              <c:f>Sheet1!$E$2:$E$4</c:f>
              <c:numCache>
                <c:formatCode>General</c:formatCode>
                <c:ptCount val="3"/>
                <c:pt idx="1">
                  <c:v>188.48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6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Banana Boat</c:v>
                </c:pt>
                <c:pt idx="1">
                  <c:v>All Others</c:v>
                </c:pt>
                <c:pt idx="2">
                  <c:v>Neutrogena</c:v>
                </c:pt>
              </c:strCache>
            </c:strRef>
          </c:cat>
          <c:val>
            <c:numRef>
              <c:f>Sheet1!$F$2:$F$4</c:f>
              <c:numCache>
                <c:formatCode>General</c:formatCode>
                <c:ptCount val="3"/>
                <c:pt idx="0">
                  <c:v>153.29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Banana Boat</c:v>
                </c:pt>
                <c:pt idx="1">
                  <c:v>All Others</c:v>
                </c:pt>
                <c:pt idx="2">
                  <c:v>Neutrogena</c:v>
                </c:pt>
              </c:strCache>
            </c:strRef>
          </c:cat>
          <c:val>
            <c:numRef>
              <c:f>Sheet1!$G$2:$G$4</c:f>
              <c:numCache>
                <c:formatCode>General</c:formatCode>
                <c:ptCount val="3"/>
                <c:pt idx="0">
                  <c:v>230.7012</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arnier</c:v>
                </c:pt>
              </c:strCache>
            </c:strRef>
          </c:cat>
          <c:val>
            <c:numRef>
              <c:f>Sheet1!$B$2:$B$2</c:f>
              <c:numCache>
                <c:formatCode>General</c:formatCode>
                <c:ptCount val="1"/>
                <c:pt idx="0">
                  <c:v>245.642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54.50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Others Marca Unif.</c:v>
                </c:pt>
              </c:strCache>
            </c:strRef>
          </c:cat>
          <c:val>
            <c:numRef>
              <c:f>Sheet1!$C$2:$C$2</c:f>
              <c:numCache>
                <c:formatCode>General</c:formatCode>
                <c:ptCount val="1"/>
                <c:pt idx="0">
                  <c:v>80.255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253.090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sdin</c:v>
                </c:pt>
                <c:pt idx="1">
                  <c:v>La Roche-Posay</c:v>
                </c:pt>
                <c:pt idx="2">
                  <c:v>Others Marca Unif.</c:v>
                </c:pt>
                <c:pt idx="3">
                  <c:v>Vichy</c:v>
                </c:pt>
              </c:strCache>
            </c:strRef>
          </c:cat>
          <c:val>
            <c:numRef>
              <c:f>Sheet1!$B$2:$B$5</c:f>
              <c:numCache>
                <c:formatCode>General</c:formatCode>
                <c:ptCount val="4"/>
                <c:pt idx="2">
                  <c:v>140.03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Isdin</c:v>
                </c:pt>
                <c:pt idx="1">
                  <c:v>La Roche-Posay</c:v>
                </c:pt>
                <c:pt idx="2">
                  <c:v>Others Marca Unif.</c:v>
                </c:pt>
                <c:pt idx="3">
                  <c:v>Vichy</c:v>
                </c:pt>
              </c:strCache>
            </c:strRef>
          </c:cat>
          <c:val>
            <c:numRef>
              <c:f>Sheet1!$C$2:$C$5</c:f>
              <c:numCache>
                <c:formatCode>General</c:formatCode>
                <c:ptCount val="4"/>
                <c:pt idx="0">
                  <c:v>597.3957</c:v>
                </c:pt>
                <c:pt idx="1">
                  <c:v>701.9871</c:v>
                </c:pt>
                <c:pt idx="3">
                  <c:v>680.01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La Roche-Posay</c:v>
                </c:pt>
                <c:pt idx="2">
                  <c:v>Others Marca Unif.</c:v>
                </c:pt>
                <c:pt idx="3">
                  <c:v>Vichy</c:v>
                </c:pt>
              </c:strCache>
            </c:strRef>
          </c:cat>
          <c:val>
            <c:numRef>
              <c:f>Sheet1!$D$2:$D$5</c:f>
              <c:numCache>
                <c:formatCode>General</c:formatCode>
                <c:ptCount val="4"/>
                <c:pt idx="3">
                  <c:v>619.657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La Roche-Posay</c:v>
                </c:pt>
                <c:pt idx="2">
                  <c:v>Others Marca Unif.</c:v>
                </c:pt>
                <c:pt idx="3">
                  <c:v>Vichy</c:v>
                </c:pt>
              </c:strCache>
            </c:strRef>
          </c:cat>
          <c:val>
            <c:numRef>
              <c:f>Sheet1!$E$2:$E$5</c:f>
              <c:numCache>
                <c:formatCode>General</c:formatCode>
                <c:ptCount val="4"/>
                <c:pt idx="1">
                  <c:v>461.3996</c:v>
                </c:pt>
                <c:pt idx="2">
                  <c:v>133.410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318.10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B$2:$B$10</c:f>
              <c:numCache>
                <c:formatCode>General</c:formatCode>
                <c:ptCount val="9"/>
                <c:pt idx="0">
                  <c:v>180.8262</c:v>
                </c:pt>
                <c:pt idx="3">
                  <c:v>224.5177</c:v>
                </c:pt>
                <c:pt idx="7">
                  <c:v>74.36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C$2:$C$10</c:f>
              <c:numCache>
                <c:formatCode>General</c:formatCode>
                <c:ptCount val="9"/>
                <c:pt idx="6">
                  <c:v>135.28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D$2:$D$10</c:f>
              <c:numCache>
                <c:formatCode>General</c:formatCode>
                <c:ptCount val="9"/>
                <c:pt idx="4">
                  <c:v>106.71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E$2:$E$10</c:f>
              <c:numCache>
                <c:formatCode>General</c:formatCode>
                <c:ptCount val="9"/>
                <c:pt idx="1">
                  <c:v>234.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F$2:$F$10</c:f>
              <c:numCache>
                <c:formatCode>General</c:formatCode>
                <c:ptCount val="9"/>
                <c:pt idx="0">
                  <c:v>101.8947</c:v>
                </c:pt>
                <c:pt idx="1">
                  <c:v>214.238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G$2:$G$10</c:f>
              <c:numCache>
                <c:formatCode>General</c:formatCode>
                <c:ptCount val="9"/>
                <c:pt idx="2">
                  <c:v>259.6867</c:v>
                </c:pt>
                <c:pt idx="3">
                  <c:v>304.4295</c:v>
                </c:pt>
                <c:pt idx="6">
                  <c:v>104.74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2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H$2:$H$10</c:f>
              <c:numCache>
                <c:formatCode>General</c:formatCode>
                <c:ptCount val="9"/>
                <c:pt idx="1">
                  <c:v>200.893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36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I$2:$I$10</c:f>
              <c:numCache>
                <c:formatCode>General</c:formatCode>
                <c:ptCount val="9"/>
                <c:pt idx="1">
                  <c:v>244.655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J$2:$J$10</c:f>
              <c:numCache>
                <c:formatCode>General</c:formatCode>
                <c:ptCount val="9"/>
                <c:pt idx="0">
                  <c:v>261.244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K$2:$K$10</c:f>
              <c:numCache>
                <c:formatCode>General</c:formatCode>
                <c:ptCount val="9"/>
                <c:pt idx="4">
                  <c:v>129.46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L$2:$L$10</c:f>
              <c:numCache>
                <c:formatCode>General</c:formatCode>
                <c:ptCount val="9"/>
                <c:pt idx="1">
                  <c:v>5.0</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M$2:$M$10</c:f>
              <c:numCache>
                <c:formatCode>General</c:formatCode>
                <c:ptCount val="9"/>
                <c:pt idx="2">
                  <c:v>247.3412</c:v>
                </c:pt>
                <c:pt idx="3">
                  <c:v>306.6436</c:v>
                </c:pt>
                <c:pt idx="8">
                  <c:v>185.826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N$2:$N$10</c:f>
              <c:numCache>
                <c:formatCode>General</c:formatCode>
                <c:ptCount val="9"/>
                <c:pt idx="2">
                  <c:v>231.7299</c:v>
                </c:pt>
                <c:pt idx="5">
                  <c:v>583.702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O$2:$O$10</c:f>
              <c:numCache>
                <c:formatCode>General</c:formatCode>
                <c:ptCount val="9"/>
                <c:pt idx="1">
                  <c:v>6.4724</c:v>
                </c:pt>
                <c:pt idx="4">
                  <c:v>32.789</c:v>
                </c:pt>
                <c:pt idx="6">
                  <c:v>117.025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Hawaiian Tropic</c:v>
                </c:pt>
                <c:pt idx="1">
                  <c:v>Banana Boat</c:v>
                </c:pt>
                <c:pt idx="2">
                  <c:v>Nivea</c:v>
                </c:pt>
                <c:pt idx="3">
                  <c:v>Neutrogena</c:v>
                </c:pt>
                <c:pt idx="4">
                  <c:v>Caribbean Beach</c:v>
                </c:pt>
                <c:pt idx="5">
                  <c:v>Isdin</c:v>
                </c:pt>
                <c:pt idx="6">
                  <c:v>Others Marca Unif.</c:v>
                </c:pt>
                <c:pt idx="7">
                  <c:v>Nuvel</c:v>
                </c:pt>
                <c:pt idx="8">
                  <c:v>Garnier</c:v>
                </c:pt>
              </c:strCache>
            </c:strRef>
          </c:cat>
          <c:val>
            <c:numRef>
              <c:f>Sheet1!$P$2:$P$10</c:f>
              <c:numCache>
                <c:formatCode>General</c:formatCode>
                <c:ptCount val="9"/>
                <c:pt idx="4">
                  <c:v>124.910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04</a:t>
                    </a:r>
                  </a:p>
                </c:rich>
              </c:tx>
              <c:dLblPos val="t"/>
              <c:showLegendKey val="0"/>
              <c:showVal val="1"/>
              <c:showCatName val="0"/>
              <c:showSerName val="0"/>
              <c:showPercent val="0"/>
              <c:showBubbleSize val="0"/>
            </c:dLbl>
            <c:dLbl>
              <c:idx val="1"/>
              <c:tx>
                <c:rich>
                  <a:bodyPr/>
                  <a:lstStyle/>
                  <a:p>
                    <a:r>
                      <a:t>259.27</a:t>
                    </a:r>
                  </a:p>
                </c:rich>
              </c:tx>
              <c:dLblPos val="t"/>
              <c:showLegendKey val="0"/>
              <c:showVal val="1"/>
              <c:showCatName val="0"/>
              <c:showSerName val="0"/>
              <c:showPercent val="0"/>
              <c:showBubbleSize val="0"/>
            </c:dLbl>
            <c:dLbl>
              <c:idx val="2"/>
              <c:tx>
                <c:rich>
                  <a:bodyPr/>
                  <a:lstStyle/>
                  <a:p>
                    <a:r>
                      <a:t>245.05</a:t>
                    </a:r>
                  </a:p>
                </c:rich>
              </c:tx>
              <c:dLblPos val="t"/>
              <c:showLegendKey val="0"/>
              <c:showVal val="1"/>
              <c:showCatName val="0"/>
              <c:showSerName val="0"/>
              <c:showPercent val="0"/>
              <c:showBubbleSize val="0"/>
            </c:dLbl>
            <c:dLbl>
              <c:idx val="3"/>
              <c:tx>
                <c:rich>
                  <a:bodyPr/>
                  <a:lstStyle/>
                  <a:p>
                    <a:r>
                      <a:t>216.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52.04</c:v>
                </c:pt>
                <c:pt idx="1">
                  <c:v>259.27</c:v>
                </c:pt>
                <c:pt idx="2">
                  <c:v>245.05</c:v>
                </c:pt>
                <c:pt idx="3">
                  <c:v>21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anana Boat</c:v>
                </c:pt>
                <c:pt idx="1">
                  <c:v>La Roche-Posay</c:v>
                </c:pt>
                <c:pt idx="2">
                  <c:v>Isdin</c:v>
                </c:pt>
                <c:pt idx="3">
                  <c:v>Nivea</c:v>
                </c:pt>
                <c:pt idx="4">
                  <c:v>Avene</c:v>
                </c:pt>
                <c:pt idx="5">
                  <c:v>Eucerin</c:v>
                </c:pt>
                <c:pt idx="6">
                  <c:v>Photoderm</c:v>
                </c:pt>
                <c:pt idx="7">
                  <c:v>All Others</c:v>
                </c:pt>
                <c:pt idx="8">
                  <c:v>Others Marca Unif.</c:v>
                </c:pt>
              </c:strCache>
            </c:strRef>
          </c:cat>
          <c:val>
            <c:numRef>
              <c:f>Sheet1!$B$2:$B$10</c:f>
              <c:numCache>
                <c:formatCode>General</c:formatCode>
                <c:ptCount val="9"/>
                <c:pt idx="3">
                  <c:v>243.3535</c:v>
                </c:pt>
                <c:pt idx="4">
                  <c:v>543.2395</c:v>
                </c:pt>
                <c:pt idx="6">
                  <c:v>369.12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anana Boat</c:v>
                </c:pt>
                <c:pt idx="1">
                  <c:v>La Roche-Posay</c:v>
                </c:pt>
                <c:pt idx="2">
                  <c:v>Isdin</c:v>
                </c:pt>
                <c:pt idx="3">
                  <c:v>Nivea</c:v>
                </c:pt>
                <c:pt idx="4">
                  <c:v>Avene</c:v>
                </c:pt>
                <c:pt idx="5">
                  <c:v>Eucerin</c:v>
                </c:pt>
                <c:pt idx="6">
                  <c:v>Photoderm</c:v>
                </c:pt>
                <c:pt idx="7">
                  <c:v>All Others</c:v>
                </c:pt>
                <c:pt idx="8">
                  <c:v>Others Marca Unif.</c:v>
                </c:pt>
              </c:strCache>
            </c:strRef>
          </c:cat>
          <c:val>
            <c:numRef>
              <c:f>Sheet1!$C$2:$C$10</c:f>
              <c:numCache>
                <c:formatCode>General</c:formatCode>
                <c:ptCount val="9"/>
                <c:pt idx="0">
                  <c:v>269.4524</c:v>
                </c:pt>
                <c:pt idx="1">
                  <c:v>551.9562</c:v>
                </c:pt>
                <c:pt idx="2">
                  <c:v>580.106</c:v>
                </c:pt>
                <c:pt idx="4">
                  <c:v>531.5041</c:v>
                </c:pt>
                <c:pt idx="5">
                  <c:v>524.2492</c:v>
                </c:pt>
                <c:pt idx="7">
                  <c:v>559.6799</c:v>
                </c:pt>
                <c:pt idx="8">
                  <c:v>509.72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Isdin</c:v>
                </c:pt>
                <c:pt idx="2">
                  <c:v>Eucerin</c:v>
                </c:pt>
                <c:pt idx="3">
                  <c:v>La Roche-Posay</c:v>
                </c:pt>
                <c:pt idx="4">
                  <c:v>Photoderm</c:v>
                </c:pt>
                <c:pt idx="5">
                  <c:v>Cetaphil</c:v>
                </c:pt>
              </c:strCache>
            </c:strRef>
          </c:cat>
          <c:val>
            <c:numRef>
              <c:f>Sheet1!$B$2:$B$7</c:f>
              <c:numCache>
                <c:formatCode>General</c:formatCode>
                <c:ptCount val="6"/>
                <c:pt idx="5">
                  <c:v>467.96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ivea</c:v>
                </c:pt>
                <c:pt idx="1">
                  <c:v>Isdin</c:v>
                </c:pt>
                <c:pt idx="2">
                  <c:v>Eucerin</c:v>
                </c:pt>
                <c:pt idx="3">
                  <c:v>La Roche-Posay</c:v>
                </c:pt>
                <c:pt idx="4">
                  <c:v>Photoderm</c:v>
                </c:pt>
                <c:pt idx="5">
                  <c:v>Cetaphil</c:v>
                </c:pt>
              </c:strCache>
            </c:strRef>
          </c:cat>
          <c:val>
            <c:numRef>
              <c:f>Sheet1!$C$2:$C$7</c:f>
              <c:numCache>
                <c:formatCode>General</c:formatCode>
                <c:ptCount val="6"/>
                <c:pt idx="0">
                  <c:v>253.5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Eucerin</c:v>
                </c:pt>
                <c:pt idx="3">
                  <c:v>La Roche-Posay</c:v>
                </c:pt>
                <c:pt idx="4">
                  <c:v>Photoderm</c:v>
                </c:pt>
                <c:pt idx="5">
                  <c:v>Cetaphil</c:v>
                </c:pt>
              </c:strCache>
            </c:strRef>
          </c:cat>
          <c:val>
            <c:numRef>
              <c:f>Sheet1!$D$2:$D$7</c:f>
              <c:numCache>
                <c:formatCode>General</c:formatCode>
                <c:ptCount val="6"/>
                <c:pt idx="0">
                  <c:v>259.883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Eucerin</c:v>
                </c:pt>
                <c:pt idx="3">
                  <c:v>La Roche-Posay</c:v>
                </c:pt>
                <c:pt idx="4">
                  <c:v>Photoderm</c:v>
                </c:pt>
                <c:pt idx="5">
                  <c:v>Cetaphil</c:v>
                </c:pt>
              </c:strCache>
            </c:strRef>
          </c:cat>
          <c:val>
            <c:numRef>
              <c:f>Sheet1!$E$2:$E$7</c:f>
              <c:numCache>
                <c:formatCode>General</c:formatCode>
                <c:ptCount val="6"/>
                <c:pt idx="1">
                  <c:v>598.09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ivea</c:v>
                </c:pt>
                <c:pt idx="1">
                  <c:v>Isdin</c:v>
                </c:pt>
                <c:pt idx="2">
                  <c:v>Eucerin</c:v>
                </c:pt>
                <c:pt idx="3">
                  <c:v>La Roche-Posay</c:v>
                </c:pt>
                <c:pt idx="4">
                  <c:v>Photoderm</c:v>
                </c:pt>
                <c:pt idx="5">
                  <c:v>Cetaphil</c:v>
                </c:pt>
              </c:strCache>
            </c:strRef>
          </c:cat>
          <c:val>
            <c:numRef>
              <c:f>Sheet1!$F$2:$F$7</c:f>
              <c:numCache>
                <c:formatCode>General</c:formatCode>
                <c:ptCount val="6"/>
                <c:pt idx="4">
                  <c:v>567.20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Isdin</c:v>
                </c:pt>
                <c:pt idx="2">
                  <c:v>Eucerin</c:v>
                </c:pt>
                <c:pt idx="3">
                  <c:v>La Roche-Posay</c:v>
                </c:pt>
                <c:pt idx="4">
                  <c:v>Photoderm</c:v>
                </c:pt>
                <c:pt idx="5">
                  <c:v>Cetaphil</c:v>
                </c:pt>
              </c:strCache>
            </c:strRef>
          </c:cat>
          <c:val>
            <c:numRef>
              <c:f>Sheet1!$G$2:$G$7</c:f>
              <c:numCache>
                <c:formatCode>General</c:formatCode>
                <c:ptCount val="6"/>
                <c:pt idx="2">
                  <c:v>552.8798</c:v>
                </c:pt>
                <c:pt idx="3">
                  <c:v>539.3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Eucerin</c:v>
                </c:pt>
                <c:pt idx="1">
                  <c:v>Photoderm</c:v>
                </c:pt>
              </c:strCache>
            </c:strRef>
          </c:cat>
          <c:val>
            <c:numRef>
              <c:f>Sheet1!$B$2:$B$3</c:f>
              <c:numCache>
                <c:formatCode>General</c:formatCode>
                <c:ptCount val="2"/>
                <c:pt idx="0">
                  <c:v>567.29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Eucerin</c:v>
                </c:pt>
                <c:pt idx="1">
                  <c:v>Photoderm</c:v>
                </c:pt>
              </c:strCache>
            </c:strRef>
          </c:cat>
          <c:val>
            <c:numRef>
              <c:f>Sheet1!$C$2:$C$3</c:f>
              <c:numCache>
                <c:formatCode>General</c:formatCode>
                <c:ptCount val="2"/>
                <c:pt idx="1">
                  <c:v>627.20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Eucerin</c:v>
                </c:pt>
                <c:pt idx="1">
                  <c:v>Photoderm</c:v>
                </c:pt>
              </c:strCache>
            </c:strRef>
          </c:cat>
          <c:val>
            <c:numRef>
              <c:f>Sheet1!$D$2:$D$3</c:f>
              <c:numCache>
                <c:formatCode>General</c:formatCode>
                <c:ptCount val="2"/>
                <c:pt idx="0">
                  <c:v>641.468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B$2:$B$7</c:f>
              <c:numCache>
                <c:formatCode>General</c:formatCode>
                <c:ptCount val="6"/>
                <c:pt idx="0">
                  <c:v>242.6011</c:v>
                </c:pt>
                <c:pt idx="2">
                  <c:v>199.0138</c:v>
                </c:pt>
                <c:pt idx="5">
                  <c:v>574.69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Beauty Care</c:v>
                </c:pt>
                <c:pt idx="3">
                  <c:v>Nivea</c:v>
                </c:pt>
                <c:pt idx="4">
                  <c:v>Loreal Paris</c:v>
                </c:pt>
                <c:pt idx="5">
                  <c:v>Isdin</c:v>
                </c:pt>
              </c:strCache>
            </c:strRef>
          </c:cat>
          <c:val>
            <c:numRef>
              <c:f>Sheet1!$C$2:$C$7</c:f>
              <c:numCache>
                <c:formatCode>General</c:formatCode>
                <c:ptCount val="6"/>
                <c:pt idx="0">
                  <c:v>187.69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D$2:$D$7</c:f>
              <c:numCache>
                <c:formatCode>General</c:formatCode>
                <c:ptCount val="6"/>
                <c:pt idx="3">
                  <c:v>175.09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E$2:$E$7</c:f>
              <c:numCache>
                <c:formatCode>General</c:formatCode>
                <c:ptCount val="6"/>
                <c:pt idx="0">
                  <c:v>238.78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Beauty Care</c:v>
                </c:pt>
                <c:pt idx="3">
                  <c:v>Nivea</c:v>
                </c:pt>
                <c:pt idx="4">
                  <c:v>Loreal Paris</c:v>
                </c:pt>
                <c:pt idx="5">
                  <c:v>Isdin</c:v>
                </c:pt>
              </c:strCache>
            </c:strRef>
          </c:cat>
          <c:val>
            <c:numRef>
              <c:f>Sheet1!$F$2:$F$7</c:f>
              <c:numCache>
                <c:formatCode>General</c:formatCode>
                <c:ptCount val="6"/>
                <c:pt idx="1">
                  <c:v>275.923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7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G$2:$G$7</c:f>
              <c:numCache>
                <c:formatCode>General</c:formatCode>
                <c:ptCount val="6"/>
                <c:pt idx="0">
                  <c:v>67.79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H$2:$H$7</c:f>
              <c:numCache>
                <c:formatCode>General</c:formatCode>
                <c:ptCount val="6"/>
                <c:pt idx="0">
                  <c:v>268.1255</c:v>
                </c:pt>
                <c:pt idx="1">
                  <c:v>215.473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I$2:$I$7</c:f>
              <c:numCache>
                <c:formatCode>General</c:formatCode>
                <c:ptCount val="6"/>
                <c:pt idx="3">
                  <c:v>264.38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J$2:$J$7</c:f>
              <c:numCache>
                <c:formatCode>General</c:formatCode>
                <c:ptCount val="6"/>
                <c:pt idx="0">
                  <c:v>270.0428</c:v>
                </c:pt>
                <c:pt idx="1">
                  <c:v>261.234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Beauty Care</c:v>
                </c:pt>
                <c:pt idx="3">
                  <c:v>Nivea</c:v>
                </c:pt>
                <c:pt idx="4">
                  <c:v>Loreal Paris</c:v>
                </c:pt>
                <c:pt idx="5">
                  <c:v>Isdin</c:v>
                </c:pt>
              </c:strCache>
            </c:strRef>
          </c:cat>
          <c:val>
            <c:numRef>
              <c:f>Sheet1!$K$2:$K$7</c:f>
              <c:numCache>
                <c:formatCode>General</c:formatCode>
                <c:ptCount val="6"/>
                <c:pt idx="0">
                  <c:v>255.5564</c:v>
                </c:pt>
                <c:pt idx="1">
                  <c:v>230.552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L$2:$L$7</c:f>
              <c:numCache>
                <c:formatCode>General</c:formatCode>
                <c:ptCount val="6"/>
                <c:pt idx="4">
                  <c:v>247.205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M$2:$M$7</c:f>
              <c:numCache>
                <c:formatCode>General</c:formatCode>
                <c:ptCount val="6"/>
                <c:pt idx="0">
                  <c:v>222.5471</c:v>
                </c:pt>
                <c:pt idx="2">
                  <c:v>206.818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0ML</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Hawaiian Tropic</c:v>
                </c:pt>
                <c:pt idx="1">
                  <c:v>Banana Boat</c:v>
                </c:pt>
                <c:pt idx="2">
                  <c:v>Beauty Care</c:v>
                </c:pt>
                <c:pt idx="3">
                  <c:v>Nivea</c:v>
                </c:pt>
                <c:pt idx="4">
                  <c:v>Loreal Paris</c:v>
                </c:pt>
                <c:pt idx="5">
                  <c:v>Isdin</c:v>
                </c:pt>
              </c:strCache>
            </c:strRef>
          </c:cat>
          <c:val>
            <c:numRef>
              <c:f>Sheet1!$N$2:$N$7</c:f>
              <c:numCache>
                <c:formatCode>General</c:formatCode>
                <c:ptCount val="6"/>
                <c:pt idx="0">
                  <c:v>102.21</c:v>
                </c:pt>
                <c:pt idx="1">
                  <c:v>83.5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Hawaiian Tropic</c:v>
                </c:pt>
                <c:pt idx="1">
                  <c:v>Banana Boat</c:v>
                </c:pt>
                <c:pt idx="2">
                  <c:v>Beauty Care</c:v>
                </c:pt>
                <c:pt idx="3">
                  <c:v>Nivea</c:v>
                </c:pt>
                <c:pt idx="4">
                  <c:v>Loreal Paris</c:v>
                </c:pt>
                <c:pt idx="5">
                  <c:v>Isdin</c:v>
                </c:pt>
              </c:strCache>
            </c:strRef>
          </c:cat>
          <c:val>
            <c:numRef>
              <c:f>Sheet1!$O$2:$O$7</c:f>
              <c:numCache>
                <c:formatCode>General</c:formatCode>
                <c:ptCount val="6"/>
                <c:pt idx="0">
                  <c:v>96.260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B$2:$B$8</c:f>
              <c:numCache>
                <c:formatCode>General</c:formatCode>
                <c:ptCount val="7"/>
                <c:pt idx="5">
                  <c:v>474.15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C$2:$C$8</c:f>
              <c:numCache>
                <c:formatCode>General</c:formatCode>
                <c:ptCount val="7"/>
                <c:pt idx="0">
                  <c:v>139.97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D$2:$D$8</c:f>
              <c:numCache>
                <c:formatCode>General</c:formatCode>
                <c:ptCount val="7"/>
                <c:pt idx="0">
                  <c:v>265.532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E$2:$E$8</c:f>
              <c:numCache>
                <c:formatCode>General</c:formatCode>
                <c:ptCount val="7"/>
                <c:pt idx="0">
                  <c:v>278.051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F$2:$F$8</c:f>
              <c:numCache>
                <c:formatCode>General</c:formatCode>
                <c:ptCount val="7"/>
                <c:pt idx="1">
                  <c:v>569.355</c:v>
                </c:pt>
                <c:pt idx="3">
                  <c:v>665.438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1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G$2:$G$8</c:f>
              <c:numCache>
                <c:formatCode>General</c:formatCode>
                <c:ptCount val="7"/>
                <c:pt idx="6">
                  <c:v>272.275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36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H$2:$H$8</c:f>
              <c:numCache>
                <c:formatCode>General</c:formatCode>
                <c:ptCount val="7"/>
                <c:pt idx="0">
                  <c:v>237.070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I$2:$I$8</c:f>
              <c:numCache>
                <c:formatCode>General</c:formatCode>
                <c:ptCount val="7"/>
                <c:pt idx="1">
                  <c:v>634.7875</c:v>
                </c:pt>
                <c:pt idx="2">
                  <c:v>263.728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J$2:$J$8</c:f>
              <c:numCache>
                <c:formatCode>General</c:formatCode>
                <c:ptCount val="7"/>
                <c:pt idx="0">
                  <c:v>196.5366</c:v>
                </c:pt>
                <c:pt idx="4">
                  <c:v>246.700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5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K$2:$K$8</c:f>
              <c:numCache>
                <c:formatCode>General</c:formatCode>
                <c:ptCount val="7"/>
                <c:pt idx="3">
                  <c:v>474.939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9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Isdin</c:v>
                </c:pt>
                <c:pt idx="2">
                  <c:v>Sun &amp; Skin Care Research: All Others</c:v>
                </c:pt>
                <c:pt idx="3">
                  <c:v>La Roche-Posay</c:v>
                </c:pt>
                <c:pt idx="4">
                  <c:v>Eclipsol</c:v>
                </c:pt>
                <c:pt idx="5">
                  <c:v>Mustela</c:v>
                </c:pt>
                <c:pt idx="6">
                  <c:v>Ocean Potion</c:v>
                </c:pt>
              </c:strCache>
            </c:strRef>
          </c:cat>
          <c:val>
            <c:numRef>
              <c:f>Sheet1!$L$2:$L$8</c:f>
              <c:numCache>
                <c:formatCode>General</c:formatCode>
                <c:ptCount val="7"/>
                <c:pt idx="2">
                  <c:v>169.707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Banana Boat</c:v>
                </c:pt>
              </c:strCache>
            </c:strRef>
          </c:cat>
          <c:val>
            <c:numRef>
              <c:f>Sheet1!$B$2:$B$2</c:f>
              <c:numCache>
                <c:formatCode>General</c:formatCode>
                <c:ptCount val="1"/>
                <c:pt idx="0">
                  <c:v>204.058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arnier</c:v>
                </c:pt>
              </c:strCache>
            </c:strRef>
          </c:cat>
          <c:val>
            <c:numRef>
              <c:f>Sheet1!$B$2:$B$2</c:f>
              <c:numCache>
                <c:formatCode>General</c:formatCode>
                <c:ptCount val="1"/>
                <c:pt idx="0">
                  <c:v>208.506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Australian Gold</c:v>
                </c:pt>
                <c:pt idx="2">
                  <c:v>Photoderm</c:v>
                </c:pt>
                <c:pt idx="3">
                  <c:v>Ocean Potion</c:v>
                </c:pt>
                <c:pt idx="4">
                  <c:v>La Roche-Posay</c:v>
                </c:pt>
                <c:pt idx="5">
                  <c:v>Mustela</c:v>
                </c:pt>
                <c:pt idx="6">
                  <c:v>Others Marca Unif.</c:v>
                </c:pt>
              </c:strCache>
            </c:strRef>
          </c:cat>
          <c:val>
            <c:numRef>
              <c:f>Sheet1!$B$2:$B$8</c:f>
              <c:numCache>
                <c:formatCode>General</c:formatCode>
                <c:ptCount val="7"/>
                <c:pt idx="2">
                  <c:v>561.5132</c:v>
                </c:pt>
                <c:pt idx="6">
                  <c:v>201.22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Australian Gold</c:v>
                </c:pt>
                <c:pt idx="2">
                  <c:v>Photoderm</c:v>
                </c:pt>
                <c:pt idx="3">
                  <c:v>Ocean Potion</c:v>
                </c:pt>
                <c:pt idx="4">
                  <c:v>La Roche-Posay</c:v>
                </c:pt>
                <c:pt idx="5">
                  <c:v>Mustela</c:v>
                </c:pt>
                <c:pt idx="6">
                  <c:v>Others Marca Unif.</c:v>
                </c:pt>
              </c:strCache>
            </c:strRef>
          </c:cat>
          <c:val>
            <c:numRef>
              <c:f>Sheet1!$C$2:$C$8</c:f>
              <c:numCache>
                <c:formatCode>General</c:formatCode>
                <c:ptCount val="7"/>
                <c:pt idx="3">
                  <c:v>321.74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7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Australian Gold</c:v>
                </c:pt>
                <c:pt idx="2">
                  <c:v>Photoderm</c:v>
                </c:pt>
                <c:pt idx="3">
                  <c:v>Ocean Potion</c:v>
                </c:pt>
                <c:pt idx="4">
                  <c:v>La Roche-Posay</c:v>
                </c:pt>
                <c:pt idx="5">
                  <c:v>Mustela</c:v>
                </c:pt>
                <c:pt idx="6">
                  <c:v>Others Marca Unif.</c:v>
                </c:pt>
              </c:strCache>
            </c:strRef>
          </c:cat>
          <c:val>
            <c:numRef>
              <c:f>Sheet1!$D$2:$D$8</c:f>
              <c:numCache>
                <c:formatCode>General</c:formatCode>
                <c:ptCount val="7"/>
                <c:pt idx="0">
                  <c:v>218.7355</c:v>
                </c:pt>
                <c:pt idx="1">
                  <c:v>360.08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anana Boat</c:v>
                </c:pt>
                <c:pt idx="1">
                  <c:v>Australian Gold</c:v>
                </c:pt>
                <c:pt idx="2">
                  <c:v>Photoderm</c:v>
                </c:pt>
                <c:pt idx="3">
                  <c:v>Ocean Potion</c:v>
                </c:pt>
                <c:pt idx="4">
                  <c:v>La Roche-Posay</c:v>
                </c:pt>
                <c:pt idx="5">
                  <c:v>Mustela</c:v>
                </c:pt>
                <c:pt idx="6">
                  <c:v>Others Marca Unif.</c:v>
                </c:pt>
              </c:strCache>
            </c:strRef>
          </c:cat>
          <c:val>
            <c:numRef>
              <c:f>Sheet1!$E$2:$E$8</c:f>
              <c:numCache>
                <c:formatCode>General</c:formatCode>
                <c:ptCount val="7"/>
                <c:pt idx="2">
                  <c:v>809.6862</c:v>
                </c:pt>
                <c:pt idx="4">
                  <c:v>539.4432</c:v>
                </c:pt>
                <c:pt idx="5">
                  <c:v>408.41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anana Boat</c:v>
                </c:pt>
                <c:pt idx="1">
                  <c:v>Australian Gold</c:v>
                </c:pt>
                <c:pt idx="2">
                  <c:v>Photoderm</c:v>
                </c:pt>
                <c:pt idx="3">
                  <c:v>Ocean Potion</c:v>
                </c:pt>
                <c:pt idx="4">
                  <c:v>La Roche-Posay</c:v>
                </c:pt>
                <c:pt idx="5">
                  <c:v>Mustela</c:v>
                </c:pt>
                <c:pt idx="6">
                  <c:v>Others Marca Unif.</c:v>
                </c:pt>
              </c:strCache>
            </c:strRef>
          </c:cat>
          <c:val>
            <c:numRef>
              <c:f>Sheet1!$F$2:$F$8</c:f>
              <c:numCache>
                <c:formatCode>General</c:formatCode>
                <c:ptCount val="7"/>
                <c:pt idx="2">
                  <c:v>666.238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anana Boat</c:v>
                </c:pt>
                <c:pt idx="1">
                  <c:v>Australian Gold</c:v>
                </c:pt>
                <c:pt idx="2">
                  <c:v>Photoderm</c:v>
                </c:pt>
                <c:pt idx="3">
                  <c:v>Ocean Potion</c:v>
                </c:pt>
                <c:pt idx="4">
                  <c:v>La Roche-Posay</c:v>
                </c:pt>
                <c:pt idx="5">
                  <c:v>Mustela</c:v>
                </c:pt>
                <c:pt idx="6">
                  <c:v>Others Marca Unif.</c:v>
                </c:pt>
              </c:strCache>
            </c:strRef>
          </c:cat>
          <c:val>
            <c:numRef>
              <c:f>Sheet1!$G$2:$G$8</c:f>
              <c:numCache>
                <c:formatCode>General</c:formatCode>
                <c:ptCount val="7"/>
                <c:pt idx="0">
                  <c:v>304.807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Isdin</c:v>
                </c:pt>
                <c:pt idx="1">
                  <c:v>Others Marca Unif.</c:v>
                </c:pt>
                <c:pt idx="2">
                  <c:v>Neutrogena</c:v>
                </c:pt>
                <c:pt idx="3">
                  <c:v>Heliocare</c:v>
                </c:pt>
              </c:strCache>
            </c:strRef>
          </c:cat>
          <c:val>
            <c:numRef>
              <c:f>Sheet1!$B$2:$B$5</c:f>
              <c:numCache>
                <c:formatCode>General</c:formatCode>
                <c:ptCount val="4"/>
                <c:pt idx="0">
                  <c:v>428.6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Isdin</c:v>
                </c:pt>
                <c:pt idx="1">
                  <c:v>Others Marca Unif.</c:v>
                </c:pt>
                <c:pt idx="2">
                  <c:v>Neutrogena</c:v>
                </c:pt>
                <c:pt idx="3">
                  <c:v>Heliocare</c:v>
                </c:pt>
              </c:strCache>
            </c:strRef>
          </c:cat>
          <c:val>
            <c:numRef>
              <c:f>Sheet1!$C$2:$C$5</c:f>
              <c:numCache>
                <c:formatCode>General</c:formatCode>
                <c:ptCount val="4"/>
                <c:pt idx="1">
                  <c:v>347.48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Others Marca Unif.</c:v>
                </c:pt>
                <c:pt idx="2">
                  <c:v>Neutrogena</c:v>
                </c:pt>
                <c:pt idx="3">
                  <c:v>Heliocare</c:v>
                </c:pt>
              </c:strCache>
            </c:strRef>
          </c:cat>
          <c:val>
            <c:numRef>
              <c:f>Sheet1!$D$2:$D$5</c:f>
              <c:numCache>
                <c:formatCode>General</c:formatCode>
                <c:ptCount val="4"/>
                <c:pt idx="1">
                  <c:v>237.8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Isdin</c:v>
                </c:pt>
                <c:pt idx="1">
                  <c:v>Others Marca Unif.</c:v>
                </c:pt>
                <c:pt idx="2">
                  <c:v>Neutrogena</c:v>
                </c:pt>
                <c:pt idx="3">
                  <c:v>Heliocare</c:v>
                </c:pt>
              </c:strCache>
            </c:strRef>
          </c:cat>
          <c:val>
            <c:numRef>
              <c:f>Sheet1!$E$2:$E$5</c:f>
              <c:numCache>
                <c:formatCode>General</c:formatCode>
                <c:ptCount val="4"/>
                <c:pt idx="3">
                  <c:v>508.5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2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Isdin</c:v>
                </c:pt>
                <c:pt idx="1">
                  <c:v>Others Marca Unif.</c:v>
                </c:pt>
                <c:pt idx="2">
                  <c:v>Neutrogena</c:v>
                </c:pt>
                <c:pt idx="3">
                  <c:v>Heliocare</c:v>
                </c:pt>
              </c:strCache>
            </c:strRef>
          </c:cat>
          <c:val>
            <c:numRef>
              <c:f>Sheet1!$F$2:$F$5</c:f>
              <c:numCache>
                <c:formatCode>General</c:formatCode>
                <c:ptCount val="4"/>
                <c:pt idx="2">
                  <c:v>351.098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C$2:$C$5</c:f>
              <c:numCache>
                <c:formatCode>General</c:formatCode>
                <c:ptCount val="4"/>
                <c:pt idx="1">
                  <c:v>263.2381</c:v>
                </c:pt>
                <c:pt idx="3">
                  <c:v>197.243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D$2:$D$5</c:f>
              <c:numCache>
                <c:formatCode>General</c:formatCode>
                <c:ptCount val="4"/>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E$2:$E$5</c:f>
              <c:numCache>
                <c:formatCode>General</c:formatCode>
                <c:ptCount val="4"/>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F$2:$F$5</c:f>
              <c:numCache>
                <c:formatCode>General</c:formatCode>
                <c:ptCount val="4"/>
                <c:pt idx="2">
                  <c:v>139.987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G$2:$G$5</c:f>
              <c:numCache>
                <c:formatCode>General</c:formatCode>
                <c:ptCount val="4"/>
                <c:pt idx="1">
                  <c:v>182.4925</c:v>
                </c:pt>
                <c:pt idx="2">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H$2:$H$5</c:f>
              <c:numCache>
                <c:formatCode>General</c:formatCode>
                <c:ptCount val="4"/>
                <c:pt idx="0">
                  <c:v>174.771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I$2:$I$5</c:f>
              <c:numCache>
                <c:formatCode>General</c:formatCode>
                <c:ptCount val="4"/>
                <c:pt idx="0">
                  <c:v>271.4586</c:v>
                </c:pt>
                <c:pt idx="1">
                  <c:v>249.422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J$2:$J$5</c:f>
              <c:numCache>
                <c:formatCode>General</c:formatCode>
                <c:ptCount val="4"/>
                <c:pt idx="2">
                  <c:v>276.275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K$2:$K$5</c:f>
              <c:numCache>
                <c:formatCode>General</c:formatCode>
                <c:ptCount val="4"/>
                <c:pt idx="1">
                  <c:v>243.70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L$2:$L$5</c:f>
              <c:numCache>
                <c:formatCode>General</c:formatCode>
                <c:ptCount val="4"/>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18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M$2:$M$5</c:f>
              <c:numCache>
                <c:formatCode>General</c:formatCode>
                <c:ptCount val="4"/>
                <c:pt idx="1">
                  <c:v>266.5653</c:v>
                </c:pt>
                <c:pt idx="2">
                  <c:v>261.0556</c:v>
                </c:pt>
                <c:pt idx="3">
                  <c:v>522.289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N$2:$N$5</c:f>
              <c:numCache>
                <c:formatCode>General</c:formatCode>
                <c:ptCount val="4"/>
                <c:pt idx="0">
                  <c:v>275.4948</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2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O$2:$O$5</c:f>
              <c:numCache>
                <c:formatCode>General</c:formatCode>
                <c:ptCount val="4"/>
                <c:pt idx="1">
                  <c:v>277.8749</c:v>
                </c:pt>
                <c:pt idx="2">
                  <c:v>273.7487</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Q$2:$Q$5</c:f>
              <c:numCache>
                <c:formatCode>General</c:formatCode>
                <c:ptCount val="4"/>
                <c:pt idx="2">
                  <c:v>246.509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R$2:$R$5</c:f>
              <c:numCache>
                <c:formatCode>General</c:formatCode>
                <c:ptCount val="4"/>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S$2:$S$5</c:f>
              <c:numCache>
                <c:formatCode>General</c:formatCode>
                <c:ptCount val="4"/>
                <c:pt idx="1">
                  <c:v>264.1204</c:v>
                </c:pt>
                <c:pt idx="2">
                  <c:v>239.5329</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T$2:$T$5</c:f>
              <c:numCache>
                <c:formatCode>General</c:formatCode>
                <c:ptCount val="4"/>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U$2:$U$5</c:f>
              <c:numCache>
                <c:formatCode>General</c:formatCode>
                <c:ptCount val="4"/>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V$2:$V$5</c:f>
              <c:numCache>
                <c:formatCode>General</c:formatCode>
                <c:ptCount val="4"/>
                <c:pt idx="1">
                  <c:v>38.1935</c:v>
                </c:pt>
                <c:pt idx="2">
                  <c:v>38.3008</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W$2:$W$5</c:f>
              <c:numCache>
                <c:formatCode>General</c:formatCode>
                <c:ptCount val="4"/>
                <c:pt idx="2">
                  <c:v>302.7465</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X$2:$X$5</c:f>
              <c:numCache>
                <c:formatCode>General</c:formatCode>
                <c:ptCount val="4"/>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Y$2:$Y$5</c:f>
              <c:numCache>
                <c:formatCode>General</c:formatCode>
                <c:ptCount val="4"/>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Z$2:$Z$5</c:f>
              <c:numCache>
                <c:formatCode>General</c:formatCode>
                <c:ptCount val="4"/>
                <c:pt idx="0">
                  <c:v>263.0861</c:v>
                </c:pt>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A$2:$AA$5</c:f>
              <c:numCache>
                <c:formatCode>General</c:formatCode>
                <c:ptCount val="4"/>
              </c:numCache>
            </c:numRef>
          </c:val>
          <c:smooth val="0"/>
          <c:extLst>
            <c:ext xmlns:c16="http://schemas.microsoft.com/office/drawing/2014/chart" uri="{C3380CC4-5D6E-409C-BE32-E72D297353CC}">
              <c16:uniqueId val="{0000002B-47B4-4CC0-A4CC-244654BFF3D5}"/>
            </c:ext>
          </c:extLst>
        </c:ser>
        <c:ser>
          <c:idx val="27"/>
          <c:order val="25"/>
          <c:tx>
            <c:strRef>
              <c:f>Sheet1!$AB$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B$2:$AB$5</c:f>
              <c:numCache>
                <c:formatCode>General</c:formatCode>
                <c:ptCount val="4"/>
              </c:numCache>
            </c:numRef>
          </c:val>
          <c:smooth val="0"/>
          <c:extLst>
            <c:ext xmlns:c16="http://schemas.microsoft.com/office/drawing/2014/chart" uri="{C3380CC4-5D6E-409C-BE32-E72D297353CC}">
              <c16:uniqueId val="{0000002B-47B4-4CC0-A4CC-244654BFF3D5}"/>
            </c:ext>
          </c:extLst>
        </c:ser>
        <c:ser>
          <c:idx val="28"/>
          <c:order val="26"/>
          <c:tx>
            <c:strRef>
              <c:f>Sheet1!$AC$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C$2:$AC$5</c:f>
              <c:numCache>
                <c:formatCode>General</c:formatCode>
                <c:ptCount val="4"/>
              </c:numCache>
            </c:numRef>
          </c:val>
          <c:smooth val="0"/>
          <c:extLst>
            <c:ext xmlns:c16="http://schemas.microsoft.com/office/drawing/2014/chart" uri="{C3380CC4-5D6E-409C-BE32-E72D297353CC}">
              <c16:uniqueId val="{0000002B-47B4-4CC0-A4CC-244654BFF3D5}"/>
            </c:ext>
          </c:extLst>
        </c:ser>
        <c:ser>
          <c:idx val="29"/>
          <c:order val="27"/>
          <c:tx>
            <c:strRef>
              <c:f>Sheet1!$AD$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D$2:$AD$5</c:f>
              <c:numCache>
                <c:formatCode>General</c:formatCode>
                <c:ptCount val="4"/>
                <c:pt idx="0">
                  <c:v>248.5054</c:v>
                </c:pt>
                <c:pt idx="1">
                  <c:v>231.5438</c:v>
                </c:pt>
                <c:pt idx="2">
                  <c:v>270.2126</c:v>
                </c:pt>
                <c:pt idx="3">
                  <c:v>208.5341</c:v>
                </c:pt>
              </c:numCache>
            </c:numRef>
          </c:val>
          <c:smooth val="0"/>
          <c:extLst>
            <c:ext xmlns:c16="http://schemas.microsoft.com/office/drawing/2014/chart" uri="{C3380CC4-5D6E-409C-BE32-E72D297353CC}">
              <c16:uniqueId val="{0000002B-47B4-4CC0-A4CC-244654BFF3D5}"/>
            </c:ext>
          </c:extLst>
        </c:ser>
        <c:ser>
          <c:idx val="30"/>
          <c:order val="28"/>
          <c:tx>
            <c:strRef>
              <c:f>Sheet1!$AE$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E$2:$AE$5</c:f>
              <c:numCache>
                <c:formatCode>General</c:formatCode>
                <c:ptCount val="4"/>
                <c:pt idx="1">
                  <c:v>91.6395</c:v>
                </c:pt>
                <c:pt idx="2">
                  <c:v>84.8929</c:v>
                </c:pt>
              </c:numCache>
            </c:numRef>
          </c:val>
          <c:smooth val="0"/>
          <c:extLst>
            <c:ext xmlns:c16="http://schemas.microsoft.com/office/drawing/2014/chart" uri="{C3380CC4-5D6E-409C-BE32-E72D297353CC}">
              <c16:uniqueId val="{0000002B-47B4-4CC0-A4CC-244654BFF3D5}"/>
            </c:ext>
          </c:extLst>
        </c:ser>
        <c:ser>
          <c:idx val="31"/>
          <c:order val="29"/>
          <c:tx>
            <c:strRef>
              <c:f>Sheet1!$AF$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F$2:$AF$5</c:f>
              <c:numCache>
                <c:formatCode>General</c:formatCode>
                <c:ptCount val="4"/>
                <c:pt idx="2">
                  <c:v>206.1407</c:v>
                </c:pt>
              </c:numCache>
            </c:numRef>
          </c:val>
          <c:smooth val="0"/>
          <c:extLst>
            <c:ext xmlns:c16="http://schemas.microsoft.com/office/drawing/2014/chart" uri="{C3380CC4-5D6E-409C-BE32-E72D297353CC}">
              <c16:uniqueId val="{0000002B-47B4-4CC0-A4CC-244654BFF3D5}"/>
            </c:ext>
          </c:extLst>
        </c:ser>
        <c:ser>
          <c:idx val="32"/>
          <c:order val="30"/>
          <c:tx>
            <c:strRef>
              <c:f>Sheet1!$AG$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G$2:$AG$5</c:f>
              <c:numCache>
                <c:formatCode>General</c:formatCode>
                <c:ptCount val="4"/>
                <c:pt idx="1">
                  <c:v>97.114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1</a:t>
                    </a:r>
                  </a:p>
                </c:rich>
              </c:tx>
              <c:dLblPos val="t"/>
              <c:showLegendKey val="0"/>
              <c:showVal val="1"/>
              <c:showCatName val="0"/>
              <c:showSerName val="0"/>
              <c:showPercent val="0"/>
              <c:showBubbleSize val="0"/>
            </c:dLbl>
            <c:dLbl>
              <c:idx val="1"/>
              <c:tx>
                <c:rich>
                  <a:bodyPr/>
                  <a:lstStyle/>
                  <a:p>
                    <a:r>
                      <a:t>268.65</a:t>
                    </a:r>
                  </a:p>
                </c:rich>
              </c:tx>
              <c:dLblPos val="t"/>
              <c:showLegendKey val="0"/>
              <c:showVal val="1"/>
              <c:showCatName val="0"/>
              <c:showSerName val="0"/>
              <c:showPercent val="0"/>
              <c:showBubbleSize val="0"/>
            </c:dLbl>
            <c:dLbl>
              <c:idx val="2"/>
              <c:tx>
                <c:rich>
                  <a:bodyPr/>
                  <a:lstStyle/>
                  <a:p>
                    <a:r>
                      <a:t>263.78</a:t>
                    </a:r>
                  </a:p>
                </c:rich>
              </c:tx>
              <c:dLblPos val="t"/>
              <c:showLegendKey val="0"/>
              <c:showVal val="1"/>
              <c:showCatName val="0"/>
              <c:showSerName val="0"/>
              <c:showPercent val="0"/>
              <c:showBubbleSize val="0"/>
            </c:dLbl>
            <c:dLbl>
              <c:idx val="3"/>
              <c:tx>
                <c:rich>
                  <a:bodyPr/>
                  <a:lstStyle/>
                  <a:p>
                    <a:r>
                      <a:t>234.97</a:t>
                    </a:r>
                  </a:p>
                </c:rich>
              </c:tx>
              <c:dLblPos val="t"/>
              <c:showLegendKey val="0"/>
              <c:showVal val="1"/>
              <c:showCatName val="0"/>
              <c:showSerName val="0"/>
              <c:showPercent val="0"/>
              <c:showBubbleSize val="0"/>
            </c:dLbl>
            <c:dLbl>
              <c:idx val="4"/>
              <c:tx>
                <c:rich>
                  <a:bodyPr/>
                  <a:lstStyle/>
                  <a:p>
                    <a:r>
                      <a:t>397.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strCache>
            </c:strRef>
          </c:cat>
          <c:val>
            <c:numRef>
              <c:f>Sheet1!$B$2:$B$6</c:f>
              <c:numCache>
                <c:formatCode>General</c:formatCode>
                <c:ptCount val="5"/>
                <c:pt idx="0">
                  <c:v>268.21</c:v>
                </c:pt>
                <c:pt idx="1">
                  <c:v>268.65</c:v>
                </c:pt>
                <c:pt idx="2">
                  <c:v>263.78</c:v>
                </c:pt>
                <c:pt idx="3">
                  <c:v>234.97</c:v>
                </c:pt>
                <c:pt idx="4">
                  <c:v>397.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C$2:$C$5</c:f>
              <c:numCache>
                <c:formatCode>General</c:formatCode>
                <c:ptCount val="4"/>
                <c:pt idx="1">
                  <c:v>267.6563</c:v>
                </c:pt>
                <c:pt idx="3">
                  <c:v>199.457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D$2:$D$5</c:f>
              <c:numCache>
                <c:formatCode>General</c:formatCode>
                <c:ptCount val="4"/>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E$2:$E$5</c:f>
              <c:numCache>
                <c:formatCode>General</c:formatCode>
                <c:ptCount val="4"/>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F$2:$F$5</c:f>
              <c:numCache>
                <c:formatCode>General</c:formatCode>
                <c:ptCount val="4"/>
                <c:pt idx="2">
                  <c:v>140.184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G$2:$G$5</c:f>
              <c:numCache>
                <c:formatCode>General</c:formatCode>
                <c:ptCount val="4"/>
                <c:pt idx="1">
                  <c:v>182.7601</c:v>
                </c:pt>
                <c:pt idx="2">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H$2:$H$5</c:f>
              <c:numCache>
                <c:formatCode>General</c:formatCode>
                <c:ptCount val="4"/>
                <c:pt idx="0">
                  <c:v>173.089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I$2:$I$5</c:f>
              <c:numCache>
                <c:formatCode>General</c:formatCode>
                <c:ptCount val="4"/>
                <c:pt idx="0">
                  <c:v>270.2144</c:v>
                </c:pt>
                <c:pt idx="1">
                  <c:v>252.938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J$2:$J$5</c:f>
              <c:numCache>
                <c:formatCode>General</c:formatCode>
                <c:ptCount val="4"/>
                <c:pt idx="2">
                  <c:v>280.535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K$2:$K$5</c:f>
              <c:numCache>
                <c:formatCode>General</c:formatCode>
                <c:ptCount val="4"/>
                <c:pt idx="1">
                  <c:v>246.50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L$2:$L$5</c:f>
              <c:numCache>
                <c:formatCode>General</c:formatCode>
                <c:ptCount val="4"/>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18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M$2:$M$5</c:f>
              <c:numCache>
                <c:formatCode>General</c:formatCode>
                <c:ptCount val="4"/>
                <c:pt idx="1">
                  <c:v>272.2186</c:v>
                </c:pt>
                <c:pt idx="2">
                  <c:v>264.3496</c:v>
                </c:pt>
                <c:pt idx="3">
                  <c:v>551.166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N$2:$N$5</c:f>
              <c:numCache>
                <c:formatCode>General</c:formatCode>
                <c:ptCount val="4"/>
                <c:pt idx="0">
                  <c:v>275.994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2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O$2:$O$5</c:f>
              <c:numCache>
                <c:formatCode>General</c:formatCode>
                <c:ptCount val="4"/>
                <c:pt idx="1">
                  <c:v>284.361</c:v>
                </c:pt>
                <c:pt idx="2">
                  <c:v>274.9533</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Q$2:$Q$5</c:f>
              <c:numCache>
                <c:formatCode>General</c:formatCode>
                <c:ptCount val="4"/>
                <c:pt idx="2">
                  <c:v>249.641</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R$2:$R$5</c:f>
              <c:numCache>
                <c:formatCode>General</c:formatCode>
                <c:ptCount val="4"/>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S$2:$S$5</c:f>
              <c:numCache>
                <c:formatCode>General</c:formatCode>
                <c:ptCount val="4"/>
                <c:pt idx="1">
                  <c:v>265.9518</c:v>
                </c:pt>
                <c:pt idx="2">
                  <c:v>243.6696</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T$2:$T$5</c:f>
              <c:numCache>
                <c:formatCode>General</c:formatCode>
                <c:ptCount val="4"/>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U$2:$U$5</c:f>
              <c:numCache>
                <c:formatCode>General</c:formatCode>
                <c:ptCount val="4"/>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V$2:$V$5</c:f>
              <c:numCache>
                <c:formatCode>General</c:formatCode>
                <c:ptCount val="4"/>
                <c:pt idx="2">
                  <c:v>5.0</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W$2:$W$5</c:f>
              <c:numCache>
                <c:formatCode>General</c:formatCode>
                <c:ptCount val="4"/>
                <c:pt idx="2">
                  <c:v>305.0674</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X$2:$X$5</c:f>
              <c:numCache>
                <c:formatCode>General</c:formatCode>
                <c:ptCount val="4"/>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Y$2:$Y$5</c:f>
              <c:numCache>
                <c:formatCode>General</c:formatCode>
                <c:ptCount val="4"/>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Z$2:$Z$5</c:f>
              <c:numCache>
                <c:formatCode>General</c:formatCode>
                <c:ptCount val="4"/>
                <c:pt idx="0">
                  <c:v>262.6641</c:v>
                </c:pt>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A$2:$AA$5</c:f>
              <c:numCache>
                <c:formatCode>General</c:formatCode>
                <c:ptCount val="4"/>
              </c:numCache>
            </c:numRef>
          </c:val>
          <c:smooth val="0"/>
          <c:extLst>
            <c:ext xmlns:c16="http://schemas.microsoft.com/office/drawing/2014/chart" uri="{C3380CC4-5D6E-409C-BE32-E72D297353CC}">
              <c16:uniqueId val="{0000002B-47B4-4CC0-A4CC-244654BFF3D5}"/>
            </c:ext>
          </c:extLst>
        </c:ser>
        <c:ser>
          <c:idx val="27"/>
          <c:order val="25"/>
          <c:tx>
            <c:strRef>
              <c:f>Sheet1!$AB$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B$2:$AB$5</c:f>
              <c:numCache>
                <c:formatCode>General</c:formatCode>
                <c:ptCount val="4"/>
              </c:numCache>
            </c:numRef>
          </c:val>
          <c:smooth val="0"/>
          <c:extLst>
            <c:ext xmlns:c16="http://schemas.microsoft.com/office/drawing/2014/chart" uri="{C3380CC4-5D6E-409C-BE32-E72D297353CC}">
              <c16:uniqueId val="{0000002B-47B4-4CC0-A4CC-244654BFF3D5}"/>
            </c:ext>
          </c:extLst>
        </c:ser>
        <c:ser>
          <c:idx val="28"/>
          <c:order val="26"/>
          <c:tx>
            <c:strRef>
              <c:f>Sheet1!$AC$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C$2:$AC$5</c:f>
              <c:numCache>
                <c:formatCode>General</c:formatCode>
                <c:ptCount val="4"/>
              </c:numCache>
            </c:numRef>
          </c:val>
          <c:smooth val="0"/>
          <c:extLst>
            <c:ext xmlns:c16="http://schemas.microsoft.com/office/drawing/2014/chart" uri="{C3380CC4-5D6E-409C-BE32-E72D297353CC}">
              <c16:uniqueId val="{0000002B-47B4-4CC0-A4CC-244654BFF3D5}"/>
            </c:ext>
          </c:extLst>
        </c:ser>
        <c:ser>
          <c:idx val="29"/>
          <c:order val="27"/>
          <c:tx>
            <c:strRef>
              <c:f>Sheet1!$AD$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D$2:$AD$5</c:f>
              <c:numCache>
                <c:formatCode>General</c:formatCode>
                <c:ptCount val="4"/>
                <c:pt idx="0">
                  <c:v>247.4402</c:v>
                </c:pt>
                <c:pt idx="1">
                  <c:v>234.5103</c:v>
                </c:pt>
                <c:pt idx="2">
                  <c:v>272.3561</c:v>
                </c:pt>
                <c:pt idx="3">
                  <c:v>208.892</c:v>
                </c:pt>
              </c:numCache>
            </c:numRef>
          </c:val>
          <c:smooth val="0"/>
          <c:extLst>
            <c:ext xmlns:c16="http://schemas.microsoft.com/office/drawing/2014/chart" uri="{C3380CC4-5D6E-409C-BE32-E72D297353CC}">
              <c16:uniqueId val="{0000002B-47B4-4CC0-A4CC-244654BFF3D5}"/>
            </c:ext>
          </c:extLst>
        </c:ser>
        <c:ser>
          <c:idx val="30"/>
          <c:order val="28"/>
          <c:tx>
            <c:strRef>
              <c:f>Sheet1!$AE$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E$2:$AE$5</c:f>
              <c:numCache>
                <c:formatCode>General</c:formatCode>
                <c:ptCount val="4"/>
                <c:pt idx="1">
                  <c:v>92.5038</c:v>
                </c:pt>
                <c:pt idx="2">
                  <c:v>84.7342</c:v>
                </c:pt>
              </c:numCache>
            </c:numRef>
          </c:val>
          <c:smooth val="0"/>
          <c:extLst>
            <c:ext xmlns:c16="http://schemas.microsoft.com/office/drawing/2014/chart" uri="{C3380CC4-5D6E-409C-BE32-E72D297353CC}">
              <c16:uniqueId val="{0000002B-47B4-4CC0-A4CC-244654BFF3D5}"/>
            </c:ext>
          </c:extLst>
        </c:ser>
        <c:ser>
          <c:idx val="31"/>
          <c:order val="29"/>
          <c:tx>
            <c:strRef>
              <c:f>Sheet1!$AF$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F$2:$AF$5</c:f>
              <c:numCache>
                <c:formatCode>General</c:formatCode>
                <c:ptCount val="4"/>
                <c:pt idx="2">
                  <c:v>207.7195</c:v>
                </c:pt>
              </c:numCache>
            </c:numRef>
          </c:val>
          <c:smooth val="0"/>
          <c:extLst>
            <c:ext xmlns:c16="http://schemas.microsoft.com/office/drawing/2014/chart" uri="{C3380CC4-5D6E-409C-BE32-E72D297353CC}">
              <c16:uniqueId val="{0000002B-47B4-4CC0-A4CC-244654BFF3D5}"/>
            </c:ext>
          </c:extLst>
        </c:ser>
        <c:ser>
          <c:idx val="32"/>
          <c:order val="30"/>
          <c:tx>
            <c:strRef>
              <c:f>Sheet1!$AG$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G$2:$AG$5</c:f>
              <c:numCache>
                <c:formatCode>General</c:formatCode>
                <c:ptCount val="4"/>
                <c:pt idx="1">
                  <c:v>97.1556</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C$2:$C$5</c:f>
              <c:numCache>
                <c:formatCode>General</c:formatCode>
                <c:ptCount val="4"/>
                <c:pt idx="1">
                  <c:v>364.9119</c:v>
                </c:pt>
                <c:pt idx="3">
                  <c:v>395.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D$2:$D$5</c:f>
              <c:numCache>
                <c:formatCode>General</c:formatCode>
                <c:ptCount val="4"/>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E$2:$E$5</c:f>
              <c:numCache>
                <c:formatCode>General</c:formatCode>
                <c:ptCount val="4"/>
                <c:pt idx="0">
                  <c:v>489.365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F$2:$F$5</c:f>
              <c:numCache>
                <c:formatCode>General</c:formatCode>
                <c:ptCount val="4"/>
                <c:pt idx="2">
                  <c:v>361.22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G$2:$G$5</c:f>
              <c:numCache>
                <c:formatCode>General</c:formatCode>
                <c:ptCount val="4"/>
                <c:pt idx="1">
                  <c:v>182.863</c:v>
                </c:pt>
                <c:pt idx="2">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H$2:$H$5</c:f>
              <c:numCache>
                <c:formatCode>General</c:formatCode>
                <c:ptCount val="4"/>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I$2:$I$5</c:f>
              <c:numCache>
                <c:formatCode>General</c:formatCode>
                <c:ptCount val="4"/>
                <c:pt idx="1">
                  <c:v>263.842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J$2:$J$5</c:f>
              <c:numCache>
                <c:formatCode>General</c:formatCode>
                <c:ptCount val="4"/>
                <c:pt idx="2">
                  <c:v>322.296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K$2:$K$5</c:f>
              <c:numCache>
                <c:formatCode>General</c:formatCode>
                <c:ptCount val="4"/>
                <c:pt idx="1">
                  <c:v>247.3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78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L$2:$L$5</c:f>
              <c:numCache>
                <c:formatCode>General</c:formatCode>
                <c:ptCount val="4"/>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18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M$2:$M$5</c:f>
              <c:numCache>
                <c:formatCode>General</c:formatCode>
                <c:ptCount val="4"/>
                <c:pt idx="1">
                  <c:v>291.4993</c:v>
                </c:pt>
                <c:pt idx="2">
                  <c:v>312.3822</c:v>
                </c:pt>
                <c:pt idx="3">
                  <c:v>551.166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0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N$2:$N$5</c:f>
              <c:numCache>
                <c:formatCode>General</c:formatCode>
                <c:ptCount val="4"/>
                <c:pt idx="0">
                  <c:v>650.676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2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O$2:$O$5</c:f>
              <c:numCache>
                <c:formatCode>General</c:formatCode>
                <c:ptCount val="4"/>
                <c:pt idx="1">
                  <c:v>303.9672</c:v>
                </c:pt>
                <c:pt idx="2">
                  <c:v>297.132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36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Q$2:$Q$5</c:f>
              <c:numCache>
                <c:formatCode>General</c:formatCode>
                <c:ptCount val="4"/>
                <c:pt idx="2">
                  <c:v>287.8845</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237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R$2:$R$5</c:f>
              <c:numCache>
                <c:formatCode>General</c:formatCode>
                <c:ptCount val="4"/>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S$2:$S$5</c:f>
              <c:numCache>
                <c:formatCode>General</c:formatCode>
                <c:ptCount val="4"/>
                <c:pt idx="1">
                  <c:v>287.3443</c:v>
                </c:pt>
                <c:pt idx="2">
                  <c:v>279.216</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T$2:$T$5</c:f>
              <c:numCache>
                <c:formatCode>General</c:formatCode>
                <c:ptCount val="4"/>
                <c:pt idx="0">
                  <c:v>643.7162</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2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U$2:$U$5</c:f>
              <c:numCache>
                <c:formatCode>General</c:formatCode>
                <c:ptCount val="4"/>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V$2:$V$5</c:f>
              <c:numCache>
                <c:formatCode>General</c:formatCode>
                <c:ptCount val="4"/>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W$2:$W$5</c:f>
              <c:numCache>
                <c:formatCode>General</c:formatCode>
                <c:ptCount val="4"/>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35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X$2:$X$5</c:f>
              <c:numCache>
                <c:formatCode>General</c:formatCode>
                <c:ptCount val="4"/>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Y$2:$Y$5</c:f>
              <c:numCache>
                <c:formatCode>General</c:formatCode>
                <c:ptCount val="4"/>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42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Z$2:$Z$5</c:f>
              <c:numCache>
                <c:formatCode>General</c:formatCode>
                <c:ptCount val="4"/>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AA$2:$AA$5</c:f>
              <c:numCache>
                <c:formatCode>General</c:formatCode>
                <c:ptCount val="4"/>
                <c:pt idx="0">
                  <c:v>630.0928</c:v>
                </c:pt>
                <c:pt idx="1">
                  <c:v>340.8083</c:v>
                </c:pt>
                <c:pt idx="2">
                  <c:v>342.1964</c:v>
                </c:pt>
                <c:pt idx="3">
                  <c:v>277.0625</c:v>
                </c:pt>
              </c:numCache>
            </c:numRef>
          </c:val>
          <c:smooth val="0"/>
          <c:extLst>
            <c:ext xmlns:c16="http://schemas.microsoft.com/office/drawing/2014/chart" uri="{C3380CC4-5D6E-409C-BE32-E72D297353CC}">
              <c16:uniqueId val="{0000002B-47B4-4CC0-A4CC-244654BFF3D5}"/>
            </c:ext>
          </c:extLst>
        </c:ser>
        <c:ser>
          <c:idx val="27"/>
          <c:order val="25"/>
          <c:tx>
            <c:strRef>
              <c:f>Sheet1!$AB$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AB$2:$AB$5</c:f>
              <c:numCache>
                <c:formatCode>General</c:formatCode>
                <c:ptCount val="4"/>
                <c:pt idx="1">
                  <c:v>64.4328</c:v>
                </c:pt>
                <c:pt idx="2">
                  <c:v>69.1222</c:v>
                </c:pt>
              </c:numCache>
            </c:numRef>
          </c:val>
          <c:smooth val="0"/>
          <c:extLst>
            <c:ext xmlns:c16="http://schemas.microsoft.com/office/drawing/2014/chart" uri="{C3380CC4-5D6E-409C-BE32-E72D297353CC}">
              <c16:uniqueId val="{0000002B-47B4-4CC0-A4CC-244654BFF3D5}"/>
            </c:ext>
          </c:extLst>
        </c:ser>
        <c:ser>
          <c:idx val="28"/>
          <c:order val="26"/>
          <c:tx>
            <c:strRef>
              <c:f>Sheet1!$AC$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AC$2:$AC$5</c:f>
              <c:numCache>
                <c:formatCode>General</c:formatCode>
                <c:ptCount val="4"/>
                <c:pt idx="2">
                  <c:v>268.0921</c:v>
                </c:pt>
              </c:numCache>
            </c:numRef>
          </c:val>
          <c:smooth val="0"/>
          <c:extLst>
            <c:ext xmlns:c16="http://schemas.microsoft.com/office/drawing/2014/chart" uri="{C3380CC4-5D6E-409C-BE32-E72D297353CC}">
              <c16:uniqueId val="{0000002B-47B4-4CC0-A4CC-244654BFF3D5}"/>
            </c:ext>
          </c:extLst>
        </c:ser>
        <c:ser>
          <c:idx val="29"/>
          <c:order val="27"/>
          <c:tx>
            <c:strRef>
              <c:f>Sheet1!$AD$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Isdin</c:v>
                  </c:pt>
                  <c:pt idx="1">
                    <c:v>Hawaiian Tropic</c:v>
                  </c:pt>
                  <c:pt idx="2">
                    <c:v>Banana Boat</c:v>
                  </c:pt>
                  <c:pt idx="3">
                    <c:v>Beauty Care</c:v>
                  </c:pt>
                </c:lvl>
              </c:multiLvlStrCache>
            </c:multiLvlStrRef>
          </c:cat>
          <c:val>
            <c:numRef>
              <c:f>Sheet1!$AD$2:$AD$5</c:f>
              <c:numCache>
                <c:formatCode>General</c:formatCode>
                <c:ptCount val="4"/>
                <c:pt idx="1">
                  <c:v>123.7286</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C$2:$C$5</c:f>
              <c:numCache>
                <c:formatCode>General</c:formatCode>
                <c:ptCount val="4"/>
                <c:pt idx="3">
                  <c:v>205.8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D$2:$D$5</c:f>
              <c:numCache>
                <c:formatCode>General</c:formatCode>
                <c:ptCount val="4"/>
                <c:pt idx="2">
                  <c:v>156.23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E$2:$E$5</c:f>
              <c:numCache>
                <c:formatCode>General</c:formatCode>
                <c:ptCount val="4"/>
                <c:pt idx="0">
                  <c:v>169.53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F$2:$F$5</c:f>
              <c:numCache>
                <c:formatCode>General</c:formatCode>
                <c:ptCount val="4"/>
                <c:pt idx="0">
                  <c:v>280.430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G$2:$G$5</c:f>
              <c:numCache>
                <c:formatCode>General</c:formatCode>
                <c:ptCount val="4"/>
                <c:pt idx="1">
                  <c:v>283.307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H$2:$H$5</c:f>
              <c:numCache>
                <c:formatCode>General</c:formatCode>
                <c:ptCount val="4"/>
                <c:pt idx="1">
                  <c:v>210.1855</c:v>
                </c:pt>
                <c:pt idx="2">
                  <c:v>195.667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I$2:$I$5</c:f>
              <c:numCache>
                <c:formatCode>General</c:formatCode>
                <c:ptCount val="4"/>
                <c:pt idx="0">
                  <c:v>277.872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2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J$2:$J$5</c:f>
              <c:numCache>
                <c:formatCode>General</c:formatCode>
                <c:ptCount val="4"/>
                <c:pt idx="2">
                  <c:v>220.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36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K$2:$K$5</c:f>
              <c:numCache>
                <c:formatCode>General</c:formatCode>
                <c:ptCount val="4"/>
                <c:pt idx="1">
                  <c:v>241.742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L$2:$L$5</c:f>
              <c:numCache>
                <c:formatCode>General</c:formatCode>
                <c:ptCount val="4"/>
                <c:pt idx="1">
                  <c:v>157.9333</c:v>
                </c:pt>
                <c:pt idx="2">
                  <c:v>227.996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M$2:$M$5</c:f>
              <c:numCache>
                <c:formatCode>General</c:formatCode>
                <c:ptCount val="4"/>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N$2:$N$5</c:f>
              <c:numCache>
                <c:formatCode>General</c:formatCode>
                <c:ptCount val="4"/>
                <c:pt idx="0">
                  <c:v>254.462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O$2:$O$5</c:f>
              <c:numCache>
                <c:formatCode>General</c:formatCode>
                <c:ptCount val="4"/>
                <c:pt idx="0">
                  <c:v>231.3578</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P$2:$P$5</c:f>
              <c:numCache>
                <c:formatCode>General</c:formatCode>
                <c:ptCount val="4"/>
                <c:pt idx="1">
                  <c:v>120.8929</c:v>
                </c:pt>
                <c:pt idx="2">
                  <c:v>97.014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Banana Boat</c:v>
                  </c:pt>
                  <c:pt idx="2">
                    <c:v>Hawaiian Tropic</c:v>
                  </c:pt>
                  <c:pt idx="3">
                    <c:v>Beauty Care</c:v>
                  </c:pt>
                </c:lvl>
              </c:multiLvlStrCache>
            </c:multiLvlStrRef>
          </c:cat>
          <c:val>
            <c:numRef>
              <c:f>Sheet1!$Q$2:$Q$5</c:f>
              <c:numCache>
                <c:formatCode>General</c:formatCode>
                <c:ptCount val="4"/>
                <c:pt idx="2">
                  <c:v>88.515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C$2:$C$5</c:f>
              <c:numCache>
                <c:formatCode>General</c:formatCode>
                <c:ptCount val="4"/>
                <c:pt idx="1">
                  <c:v>242.6011</c:v>
                </c:pt>
                <c:pt idx="3">
                  <c:v>199.01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D$2:$D$5</c:f>
              <c:numCache>
                <c:formatCode>General</c:formatCode>
                <c:ptCount val="4"/>
                <c:pt idx="2">
                  <c:v>139.97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E$2:$E$5</c:f>
              <c:numCache>
                <c:formatCode>General</c:formatCode>
                <c:ptCount val="4"/>
                <c:pt idx="1">
                  <c:v>182.769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F$2:$F$5</c:f>
              <c:numCache>
                <c:formatCode>General</c:formatCode>
                <c:ptCount val="4"/>
                <c:pt idx="0">
                  <c:v>175.094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G$2:$G$5</c:f>
              <c:numCache>
                <c:formatCode>General</c:formatCode>
                <c:ptCount val="4"/>
                <c:pt idx="0">
                  <c:v>253.576</c:v>
                </c:pt>
                <c:pt idx="1">
                  <c:v>238.7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H$2:$H$5</c:f>
              <c:numCache>
                <c:formatCode>General</c:formatCode>
                <c:ptCount val="4"/>
                <c:pt idx="2">
                  <c:v>267.701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I$2:$I$5</c:f>
              <c:numCache>
                <c:formatCode>General</c:formatCode>
                <c:ptCount val="4"/>
                <c:pt idx="1">
                  <c:v>67.790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J$2:$J$5</c:f>
              <c:numCache>
                <c:formatCode>General</c:formatCode>
                <c:ptCount val="4"/>
                <c:pt idx="1">
                  <c:v>268.1027</c:v>
                </c:pt>
                <c:pt idx="2">
                  <c:v>243.324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K$2:$K$5</c:f>
              <c:numCache>
                <c:formatCode>General</c:formatCode>
                <c:ptCount val="4"/>
                <c:pt idx="0">
                  <c:v>262.100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L$2:$L$5</c:f>
              <c:numCache>
                <c:formatCode>General</c:formatCode>
                <c:ptCount val="4"/>
                <c:pt idx="1">
                  <c:v>270.0428</c:v>
                </c:pt>
                <c:pt idx="2">
                  <c:v>259.898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M$2:$M$5</c:f>
              <c:numCache>
                <c:formatCode>General</c:formatCode>
                <c:ptCount val="4"/>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3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N$2:$N$5</c:f>
              <c:numCache>
                <c:formatCode>General</c:formatCode>
                <c:ptCount val="4"/>
                <c:pt idx="2">
                  <c:v>242.753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7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O$2:$O$5</c:f>
              <c:numCache>
                <c:formatCode>General</c:formatCode>
                <c:ptCount val="4"/>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P$2:$P$5</c:f>
              <c:numCache>
                <c:formatCode>General</c:formatCode>
                <c:ptCount val="4"/>
                <c:pt idx="1">
                  <c:v>257.9377</c:v>
                </c:pt>
                <c:pt idx="2">
                  <c:v>230.5525</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Q$2:$Q$5</c:f>
              <c:numCache>
                <c:formatCode>General</c:formatCode>
                <c:ptCount val="4"/>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R$2:$R$5</c:f>
              <c:numCache>
                <c:formatCode>General</c:formatCode>
                <c:ptCount val="4"/>
                <c:pt idx="2">
                  <c:v>5.0</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S$2:$S$5</c:f>
              <c:numCache>
                <c:formatCode>General</c:formatCode>
                <c:ptCount val="4"/>
                <c:pt idx="2">
                  <c:v>304.8076</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3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T$2:$T$5</c:f>
              <c:numCache>
                <c:formatCode>General</c:formatCode>
                <c:ptCount val="4"/>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U$2:$U$5</c:f>
              <c:numCache>
                <c:formatCode>General</c:formatCode>
                <c:ptCount val="4"/>
                <c:pt idx="0">
                  <c:v>245.8582</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5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V$2:$V$5</c:f>
              <c:numCache>
                <c:formatCode>General</c:formatCode>
                <c:ptCount val="4"/>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473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W$2:$W$5</c:f>
              <c:numCache>
                <c:formatCode>General</c:formatCode>
                <c:ptCount val="4"/>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X$2:$X$5</c:f>
              <c:numCache>
                <c:formatCode>General</c:formatCode>
                <c:ptCount val="4"/>
                <c:pt idx="0">
                  <c:v>231.7299</c:v>
                </c:pt>
                <c:pt idx="1">
                  <c:v>222.5471</c:v>
                </c:pt>
                <c:pt idx="2">
                  <c:v>269.4524</c:v>
                </c:pt>
                <c:pt idx="3">
                  <c:v>206.8187</c:v>
                </c:pt>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Y$2:$Y$5</c:f>
              <c:numCache>
                <c:formatCode>General</c:formatCode>
                <c:ptCount val="4"/>
                <c:pt idx="1">
                  <c:v>102.21</c:v>
                </c:pt>
                <c:pt idx="2">
                  <c:v>106.6671</c:v>
                </c:pt>
              </c:numCache>
            </c:numRef>
          </c:val>
          <c:smooth val="0"/>
          <c:extLst>
            <c:ext xmlns:c16="http://schemas.microsoft.com/office/drawing/2014/chart" uri="{C3380CC4-5D6E-409C-BE32-E72D297353CC}">
              <c16:uniqueId val="{0000002B-47B4-4CC0-A4CC-244654BFF3D5}"/>
            </c:ext>
          </c:extLst>
        </c:ser>
        <c:ser>
          <c:idx val="25"/>
          <c:order val="23"/>
          <c:tx>
            <c:strRef>
              <c:f>Sheet1!$Z$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Z$2:$Z$5</c:f>
              <c:numCache>
                <c:formatCode>General</c:formatCode>
                <c:ptCount val="4"/>
                <c:pt idx="2">
                  <c:v>204.0581</c:v>
                </c:pt>
              </c:numCache>
            </c:numRef>
          </c:val>
          <c:smooth val="0"/>
          <c:extLst>
            <c:ext xmlns:c16="http://schemas.microsoft.com/office/drawing/2014/chart" uri="{C3380CC4-5D6E-409C-BE32-E72D297353CC}">
              <c16:uniqueId val="{0000002B-47B4-4CC0-A4CC-244654BFF3D5}"/>
            </c:ext>
          </c:extLst>
        </c:ser>
        <c:ser>
          <c:idx val="26"/>
          <c:order val="24"/>
          <c:tx>
            <c:strRef>
              <c:f>Sheet1!$AA$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A$2:$AA$5</c:f>
              <c:numCache>
                <c:formatCode>General</c:formatCode>
                <c:ptCount val="4"/>
              </c:numCache>
            </c:numRef>
          </c:val>
          <c:smooth val="0"/>
          <c:extLst>
            <c:ext xmlns:c16="http://schemas.microsoft.com/office/drawing/2014/chart" uri="{C3380CC4-5D6E-409C-BE32-E72D297353CC}">
              <c16:uniqueId val="{0000002B-47B4-4CC0-A4CC-244654BFF3D5}"/>
            </c:ext>
          </c:extLst>
        </c:ser>
        <c:ser>
          <c:idx val="27"/>
          <c:order val="25"/>
          <c:tx>
            <c:strRef>
              <c:f>Sheet1!$AB$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unscreen</c:v>
                  </c:pt>
                  <c:pt idx="1">
                    <c:v>Sunscreen</c:v>
                  </c:pt>
                  <c:pt idx="2">
                    <c:v>Sunscreen</c:v>
                  </c:pt>
                  <c:pt idx="3">
                    <c:v>Sunscreen</c:v>
                  </c:pt>
                </c:lvl>
                <c:lvl>
                  <c:pt idx="0">
                    <c:v>Nivea</c:v>
                  </c:pt>
                  <c:pt idx="1">
                    <c:v>Hawaiian Tropic</c:v>
                  </c:pt>
                  <c:pt idx="2">
                    <c:v>Banana Boat</c:v>
                  </c:pt>
                  <c:pt idx="3">
                    <c:v>Beauty Care</c:v>
                  </c:pt>
                </c:lvl>
              </c:multiLvlStrCache>
            </c:multiLvlStrRef>
          </c:cat>
          <c:val>
            <c:numRef>
              <c:f>Sheet1!$AB$2:$AB$5</c:f>
              <c:numCache>
                <c:formatCode>General</c:formatCode>
                <c:ptCount val="4"/>
                <c:pt idx="1">
                  <c:v>96.260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C$2:$C$15</c:f>
              <c:numCache>
                <c:formatCode>General</c:formatCode>
                <c:ptCount val="14"/>
                <c:pt idx="3">
                  <c:v>263.2381</c:v>
                </c:pt>
                <c:pt idx="13">
                  <c:v>197.243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D$2:$D$15</c:f>
              <c:numCache>
                <c:formatCode>General</c:formatCode>
                <c:ptCount val="14"/>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E$2:$E$15</c:f>
              <c:numCache>
                <c:formatCode>General</c:formatCode>
                <c:ptCount val="14"/>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F$2:$F$15</c:f>
              <c:numCache>
                <c:formatCode>General</c:formatCode>
                <c:ptCount val="14"/>
                <c:pt idx="6">
                  <c:v>394.375</c:v>
                </c:pt>
                <c:pt idx="7">
                  <c:v>139.7948</c:v>
                </c:pt>
                <c:pt idx="8">
                  <c:v>96.0</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G$2:$G$15</c:f>
              <c:numCache>
                <c:formatCode>General</c:formatCode>
                <c:ptCount val="14"/>
                <c:pt idx="3">
                  <c:v>184.1697</c:v>
                </c:pt>
                <c:pt idx="4">
                  <c:v>181.8237</c:v>
                </c:pt>
                <c:pt idx="8">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H$2:$H$15</c:f>
              <c:numCache>
                <c:formatCode>General</c:formatCode>
                <c:ptCount val="14"/>
                <c:pt idx="0">
                  <c:v>174.773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I$2:$I$15</c:f>
              <c:numCache>
                <c:formatCode>General</c:formatCode>
                <c:ptCount val="14"/>
                <c:pt idx="2">
                  <c:v>271.4586</c:v>
                </c:pt>
                <c:pt idx="3">
                  <c:v>249.422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J$2:$J$15</c:f>
              <c:numCache>
                <c:formatCode>General</c:formatCode>
                <c:ptCount val="14"/>
                <c:pt idx="6">
                  <c:v>279.3803</c:v>
                </c:pt>
                <c:pt idx="7">
                  <c:v>277.3247</c:v>
                </c:pt>
                <c:pt idx="8">
                  <c:v>234.0</c:v>
                </c:pt>
                <c:pt idx="10">
                  <c:v>213.798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K$2:$K$15</c:f>
              <c:numCache>
                <c:formatCode>General</c:formatCode>
                <c:ptCount val="14"/>
                <c:pt idx="3">
                  <c:v>243.70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L$2:$L$15</c:f>
              <c:numCache>
                <c:formatCode>General</c:formatCode>
                <c:ptCount val="14"/>
                <c:pt idx="3">
                  <c:v>267.1381</c:v>
                </c:pt>
                <c:pt idx="4">
                  <c:v>221.744</c:v>
                </c:pt>
                <c:pt idx="6">
                  <c:v>213.5184</c:v>
                </c:pt>
                <c:pt idx="7">
                  <c:v>287.5674</c:v>
                </c:pt>
                <c:pt idx="8">
                  <c:v>237.8686</c:v>
                </c:pt>
                <c:pt idx="13">
                  <c:v>522.289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M$2:$M$15</c:f>
              <c:numCache>
                <c:formatCode>General</c:formatCode>
                <c:ptCount val="14"/>
                <c:pt idx="0">
                  <c:v>277.1543</c:v>
                </c:pt>
                <c:pt idx="1">
                  <c:v>272.2743</c:v>
                </c:pt>
                <c:pt idx="2">
                  <c:v>276.357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N$2:$N$15</c:f>
              <c:numCache>
                <c:formatCode>General</c:formatCode>
                <c:ptCount val="14"/>
                <c:pt idx="3">
                  <c:v>277.8749</c:v>
                </c:pt>
                <c:pt idx="6">
                  <c:v>279.7299</c:v>
                </c:pt>
                <c:pt idx="8">
                  <c:v>243.9668</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6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O$2:$O$15</c:f>
              <c:numCache>
                <c:formatCode>General</c:formatCode>
                <c:ptCount val="14"/>
                <c:pt idx="6">
                  <c:v>117.0</c:v>
                </c:pt>
                <c:pt idx="7">
                  <c:v>236.0833</c:v>
                </c:pt>
                <c:pt idx="8">
                  <c:v>249.2773</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P$2:$P$15</c:f>
              <c:numCache>
                <c:formatCode>General</c:formatCode>
                <c:ptCount val="14"/>
                <c:pt idx="3">
                  <c:v>263.7315</c:v>
                </c:pt>
                <c:pt idx="4">
                  <c:v>264.6375</c:v>
                </c:pt>
                <c:pt idx="6">
                  <c:v>239.444</c:v>
                </c:pt>
                <c:pt idx="12">
                  <c:v>395.636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Q$2:$Q$15</c:f>
              <c:numCache>
                <c:formatCode>General</c:formatCode>
                <c:ptCount val="14"/>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R$2:$R$15</c:f>
              <c:numCache>
                <c:formatCode>General</c:formatCode>
                <c:ptCount val="14"/>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S$2:$S$15</c:f>
              <c:numCache>
                <c:formatCode>General</c:formatCode>
                <c:ptCount val="14"/>
                <c:pt idx="5">
                  <c:v>38.1935</c:v>
                </c:pt>
                <c:pt idx="7">
                  <c:v>38.3569</c:v>
                </c:pt>
                <c:pt idx="8">
                  <c:v>5.0</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T$2:$T$15</c:f>
              <c:numCache>
                <c:formatCode>General</c:formatCode>
                <c:ptCount val="14"/>
                <c:pt idx="10">
                  <c:v>302.746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U$2:$U$15</c:f>
              <c:numCache>
                <c:formatCode>General</c:formatCode>
                <c:ptCount val="14"/>
                <c:pt idx="1">
                  <c:v>263.8696</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V$2:$V$15</c:f>
              <c:numCache>
                <c:formatCode>General</c:formatCode>
                <c:ptCount val="14"/>
                <c:pt idx="1">
                  <c:v>248.5054</c:v>
                </c:pt>
                <c:pt idx="3">
                  <c:v>231.5438</c:v>
                </c:pt>
                <c:pt idx="11">
                  <c:v>270.2126</c:v>
                </c:pt>
                <c:pt idx="13">
                  <c:v>208.5341</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W$2:$W$15</c:f>
              <c:numCache>
                <c:formatCode>General</c:formatCode>
                <c:ptCount val="14"/>
                <c:pt idx="3">
                  <c:v>91.6395</c:v>
                </c:pt>
                <c:pt idx="6">
                  <c:v>75.8829</c:v>
                </c:pt>
                <c:pt idx="7">
                  <c:v>107.2102</c:v>
                </c:pt>
                <c:pt idx="8">
                  <c:v>43.5111</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X$2:$X$15</c:f>
              <c:numCache>
                <c:formatCode>General</c:formatCode>
                <c:ptCount val="14"/>
                <c:pt idx="9">
                  <c:v>206.1407</c:v>
                </c:pt>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Liquido</c:v>
                  </c:pt>
                  <c:pt idx="1">
                    <c:v>Sunscreen Crema</c:v>
                  </c:pt>
                  <c:pt idx="2">
                    <c:v>Sunscreen Gel</c:v>
                  </c:pt>
                  <c:pt idx="3">
                    <c:v>Sunscreen Liquido</c:v>
                  </c:pt>
                  <c:pt idx="4">
                    <c:v>Sunscreen Crema</c:v>
                  </c:pt>
                  <c:pt idx="5">
                    <c:v>Sunscreen Emulsion</c:v>
                  </c:pt>
                  <c:pt idx="6">
                    <c:v>Sunscreen Liquido</c:v>
                  </c:pt>
                  <c:pt idx="7">
                    <c:v>Sunscreen Locion</c:v>
                  </c:pt>
                  <c:pt idx="8">
                    <c:v>Sunscreen Crema</c:v>
                  </c:pt>
                  <c:pt idx="9">
                    <c:v>Sunscreen Roll-On</c:v>
                  </c:pt>
                  <c:pt idx="10">
                    <c:v>Sunscreen Spray</c:v>
                  </c:pt>
                  <c:pt idx="11">
                    <c:v>Sunscreen Fluido</c:v>
                  </c:pt>
                  <c:pt idx="12">
                    <c:v>Sunscreen Aceite</c:v>
                  </c:pt>
                  <c:pt idx="13">
                    <c:v>Sunscreen Liquido</c:v>
                  </c:pt>
                </c:lvl>
                <c:lvl>
                  <c:pt idx="0">
                    <c:v>Nivea</c:v>
                  </c:pt>
                  <c:pt idx="3">
                    <c:v>Hawaiian Tropic</c:v>
                  </c:pt>
                  <c:pt idx="6">
                    <c:v>Banana Boat</c:v>
                  </c:pt>
                  <c:pt idx="13">
                    <c:v>Beauty Care</c:v>
                  </c:pt>
                </c:lvl>
              </c:multiLvlStrCache>
            </c:multiLvlStrRef>
          </c:cat>
          <c:val>
            <c:numRef>
              <c:f>Sheet1!$Y$2:$Y$15</c:f>
              <c:numCache>
                <c:formatCode>General</c:formatCode>
                <c:ptCount val="14"/>
                <c:pt idx="3">
                  <c:v>97.1133</c:v>
                </c:pt>
                <c:pt idx="4">
                  <c:v>104.17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C$2:$C$14</c:f>
              <c:numCache>
                <c:formatCode>General</c:formatCode>
                <c:ptCount val="13"/>
                <c:pt idx="3">
                  <c:v>267.6563</c:v>
                </c:pt>
                <c:pt idx="12">
                  <c:v>199.457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D$2:$D$14</c:f>
              <c:numCache>
                <c:formatCode>General</c:formatCode>
                <c:ptCount val="1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E$2:$E$14</c:f>
              <c:numCache>
                <c:formatCode>General</c:formatCode>
                <c:ptCount val="1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F$2:$F$14</c:f>
              <c:numCache>
                <c:formatCode>General</c:formatCode>
                <c:ptCount val="13"/>
                <c:pt idx="5">
                  <c:v>394.375</c:v>
                </c:pt>
                <c:pt idx="6">
                  <c:v>139.9923</c:v>
                </c:pt>
                <c:pt idx="7">
                  <c:v>96.0</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G$2:$G$14</c:f>
              <c:numCache>
                <c:formatCode>General</c:formatCode>
                <c:ptCount val="13"/>
                <c:pt idx="3">
                  <c:v>184.3359</c:v>
                </c:pt>
                <c:pt idx="4">
                  <c:v>182.1294</c:v>
                </c:pt>
                <c:pt idx="7">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H$2:$H$14</c:f>
              <c:numCache>
                <c:formatCode>General</c:formatCode>
                <c:ptCount val="13"/>
                <c:pt idx="1">
                  <c:v>173.092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I$2:$I$14</c:f>
              <c:numCache>
                <c:formatCode>General</c:formatCode>
                <c:ptCount val="13"/>
                <c:pt idx="2">
                  <c:v>270.2144</c:v>
                </c:pt>
                <c:pt idx="3">
                  <c:v>252.938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J$2:$J$14</c:f>
              <c:numCache>
                <c:formatCode>General</c:formatCode>
                <c:ptCount val="13"/>
                <c:pt idx="5">
                  <c:v>285.0332</c:v>
                </c:pt>
                <c:pt idx="6">
                  <c:v>280.1045</c:v>
                </c:pt>
                <c:pt idx="7">
                  <c:v>234.0</c:v>
                </c:pt>
                <c:pt idx="9">
                  <c:v>219.125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K$2:$K$14</c:f>
              <c:numCache>
                <c:formatCode>General</c:formatCode>
                <c:ptCount val="13"/>
                <c:pt idx="3">
                  <c:v>246.50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L$2:$L$14</c:f>
              <c:numCache>
                <c:formatCode>General</c:formatCode>
                <c:ptCount val="13"/>
                <c:pt idx="3">
                  <c:v>272.9144</c:v>
                </c:pt>
                <c:pt idx="4">
                  <c:v>222.3923</c:v>
                </c:pt>
                <c:pt idx="5">
                  <c:v>216.9147</c:v>
                </c:pt>
                <c:pt idx="6">
                  <c:v>291.0592</c:v>
                </c:pt>
                <c:pt idx="7">
                  <c:v>239.8713</c:v>
                </c:pt>
                <c:pt idx="12">
                  <c:v>551.166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M$2:$M$14</c:f>
              <c:numCache>
                <c:formatCode>General</c:formatCode>
                <c:ptCount val="13"/>
                <c:pt idx="0">
                  <c:v>271.9526</c:v>
                </c:pt>
                <c:pt idx="1">
                  <c:v>278.2704</c:v>
                </c:pt>
                <c:pt idx="2">
                  <c:v>275.8453</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N$2:$N$14</c:f>
              <c:numCache>
                <c:formatCode>General</c:formatCode>
                <c:ptCount val="13"/>
                <c:pt idx="3">
                  <c:v>284.361</c:v>
                </c:pt>
                <c:pt idx="5">
                  <c:v>280.171</c:v>
                </c:pt>
                <c:pt idx="7">
                  <c:v>247.0803</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6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O$2:$O$14</c:f>
              <c:numCache>
                <c:formatCode>General</c:formatCode>
                <c:ptCount val="13"/>
                <c:pt idx="5">
                  <c:v>117.0</c:v>
                </c:pt>
                <c:pt idx="6">
                  <c:v>238.2634</c:v>
                </c:pt>
                <c:pt idx="7">
                  <c:v>252.7963</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P$2:$P$14</c:f>
              <c:numCache>
                <c:formatCode>General</c:formatCode>
                <c:ptCount val="13"/>
                <c:pt idx="3">
                  <c:v>264.9563</c:v>
                </c:pt>
                <c:pt idx="4">
                  <c:v>267.2908</c:v>
                </c:pt>
                <c:pt idx="5">
                  <c:v>243.5742</c:v>
                </c:pt>
                <c:pt idx="11">
                  <c:v>395.636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Q$2:$Q$14</c:f>
              <c:numCache>
                <c:formatCode>General</c:formatCode>
                <c:ptCount val="13"/>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R$2:$R$14</c:f>
              <c:numCache>
                <c:formatCode>General</c:formatCode>
                <c:ptCount val="13"/>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S$2:$S$14</c:f>
              <c:numCache>
                <c:formatCode>General</c:formatCode>
                <c:ptCount val="13"/>
                <c:pt idx="7">
                  <c:v>5.0</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T$2:$T$14</c:f>
              <c:numCache>
                <c:formatCode>General</c:formatCode>
                <c:ptCount val="13"/>
                <c:pt idx="9">
                  <c:v>305.0674</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U$2:$U$14</c:f>
              <c:numCache>
                <c:formatCode>General</c:formatCode>
                <c:ptCount val="13"/>
                <c:pt idx="0">
                  <c:v>262.754</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V$2:$V$14</c:f>
              <c:numCache>
                <c:formatCode>General</c:formatCode>
                <c:ptCount val="13"/>
                <c:pt idx="0">
                  <c:v>247.4402</c:v>
                </c:pt>
                <c:pt idx="3">
                  <c:v>234.5103</c:v>
                </c:pt>
                <c:pt idx="10">
                  <c:v>272.3561</c:v>
                </c:pt>
                <c:pt idx="12">
                  <c:v>208.892</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W$2:$W$14</c:f>
              <c:numCache>
                <c:formatCode>General</c:formatCode>
                <c:ptCount val="13"/>
                <c:pt idx="3">
                  <c:v>92.5038</c:v>
                </c:pt>
                <c:pt idx="5">
                  <c:v>75.7937</c:v>
                </c:pt>
                <c:pt idx="6">
                  <c:v>106.818</c:v>
                </c:pt>
                <c:pt idx="7">
                  <c:v>15.3399</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X$2:$X$14</c:f>
              <c:numCache>
                <c:formatCode>General</c:formatCode>
                <c:ptCount val="13"/>
                <c:pt idx="8">
                  <c:v>207.7195</c:v>
                </c:pt>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Liquido</c:v>
                  </c:pt>
                  <c:pt idx="4">
                    <c:v>Sunscreen Crema</c:v>
                  </c:pt>
                  <c:pt idx="5">
                    <c:v>Sunscreen Liquido</c:v>
                  </c:pt>
                  <c:pt idx="6">
                    <c:v>Sunscreen Locion</c:v>
                  </c:pt>
                  <c:pt idx="7">
                    <c:v>Sunscreen Crema</c:v>
                  </c:pt>
                  <c:pt idx="8">
                    <c:v>Sunscreen Roll-On</c:v>
                  </c:pt>
                  <c:pt idx="9">
                    <c:v>Sunscreen Spray</c:v>
                  </c:pt>
                  <c:pt idx="10">
                    <c:v>Sunscreen Fluido</c:v>
                  </c:pt>
                  <c:pt idx="11">
                    <c:v>Sunscreen Aceite</c:v>
                  </c:pt>
                  <c:pt idx="12">
                    <c:v>Sunscreen Liquido</c:v>
                  </c:pt>
                </c:lvl>
                <c:lvl>
                  <c:pt idx="0">
                    <c:v>Nivea</c:v>
                  </c:pt>
                  <c:pt idx="3">
                    <c:v>Hawaiian Tropic</c:v>
                  </c:pt>
                  <c:pt idx="5">
                    <c:v>Banana Boat</c:v>
                  </c:pt>
                  <c:pt idx="12">
                    <c:v>Beauty Care</c:v>
                  </c:pt>
                </c:lvl>
              </c:multiLvlStrCache>
            </c:multiLvlStrRef>
          </c:cat>
          <c:val>
            <c:numRef>
              <c:f>Sheet1!$Y$2:$Y$14</c:f>
              <c:numCache>
                <c:formatCode>General</c:formatCode>
                <c:ptCount val="13"/>
                <c:pt idx="3">
                  <c:v>97.154</c:v>
                </c:pt>
                <c:pt idx="4">
                  <c:v>104.17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C$2:$C$15</c:f>
              <c:numCache>
                <c:formatCode>General</c:formatCode>
                <c:ptCount val="14"/>
                <c:pt idx="5">
                  <c:v>364.9119</c:v>
                </c:pt>
                <c:pt idx="13">
                  <c:v>395.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9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D$2:$D$15</c:f>
              <c:numCache>
                <c:formatCode>General</c:formatCode>
                <c:ptCount val="14"/>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E$2:$E$15</c:f>
              <c:numCache>
                <c:formatCode>General</c:formatCode>
                <c:ptCount val="14"/>
                <c:pt idx="3">
                  <c:v>489.365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18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F$2:$F$15</c:f>
              <c:numCache>
                <c:formatCode>General</c:formatCode>
                <c:ptCount val="14"/>
                <c:pt idx="7">
                  <c:v>394.375</c:v>
                </c:pt>
                <c:pt idx="9">
                  <c:v>96.0</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2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G$2:$G$15</c:f>
              <c:numCache>
                <c:formatCode>General</c:formatCode>
                <c:ptCount val="14"/>
                <c:pt idx="5">
                  <c:v>150.7706</c:v>
                </c:pt>
                <c:pt idx="6">
                  <c:v>197.704</c:v>
                </c:pt>
                <c:pt idx="9">
                  <c:v>20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2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H$2:$H$15</c:f>
              <c:numCache>
                <c:formatCode>General</c:formatCode>
                <c:ptCount val="14"/>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I$2:$I$15</c:f>
              <c:numCache>
                <c:formatCode>General</c:formatCode>
                <c:ptCount val="14"/>
                <c:pt idx="5">
                  <c:v>263.842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7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J$2:$J$15</c:f>
              <c:numCache>
                <c:formatCode>General</c:formatCode>
                <c:ptCount val="14"/>
                <c:pt idx="7">
                  <c:v>300.6402</c:v>
                </c:pt>
                <c:pt idx="8">
                  <c:v>384.833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77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K$2:$K$15</c:f>
              <c:numCache>
                <c:formatCode>General</c:formatCode>
                <c:ptCount val="14"/>
                <c:pt idx="5">
                  <c:v>247.3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8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L$2:$L$15</c:f>
              <c:numCache>
                <c:formatCode>General</c:formatCode>
                <c:ptCount val="14"/>
                <c:pt idx="5">
                  <c:v>296.991</c:v>
                </c:pt>
                <c:pt idx="6">
                  <c:v>223.5671</c:v>
                </c:pt>
                <c:pt idx="7">
                  <c:v>254.4964</c:v>
                </c:pt>
                <c:pt idx="8">
                  <c:v>307.9683</c:v>
                </c:pt>
                <c:pt idx="9">
                  <c:v>336.5584</c:v>
                </c:pt>
                <c:pt idx="13">
                  <c:v>551.166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M$2:$M$15</c:f>
              <c:numCache>
                <c:formatCode>General</c:formatCode>
                <c:ptCount val="14"/>
                <c:pt idx="4">
                  <c:v>652.114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2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N$2:$N$15</c:f>
              <c:numCache>
                <c:formatCode>General</c:formatCode>
                <c:ptCount val="14"/>
                <c:pt idx="5">
                  <c:v>303.9672</c:v>
                </c:pt>
                <c:pt idx="7">
                  <c:v>323.0957</c:v>
                </c:pt>
                <c:pt idx="9">
                  <c:v>250.894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36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O$2:$O$15</c:f>
              <c:numCache>
                <c:formatCode>General</c:formatCode>
                <c:ptCount val="14"/>
                <c:pt idx="7">
                  <c:v>117.0</c:v>
                </c:pt>
                <c:pt idx="8">
                  <c:v>296.3353</c:v>
                </c:pt>
                <c:pt idx="9">
                  <c:v>287.603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P$2:$P$15</c:f>
              <c:numCache>
                <c:formatCode>General</c:formatCode>
                <c:ptCount val="14"/>
                <c:pt idx="5">
                  <c:v>291.2631</c:v>
                </c:pt>
                <c:pt idx="6">
                  <c:v>282.5092</c:v>
                </c:pt>
                <c:pt idx="7">
                  <c:v>278.943</c:v>
                </c:pt>
                <c:pt idx="12">
                  <c:v>395.636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2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Q$2:$Q$15</c:f>
              <c:numCache>
                <c:formatCode>General</c:formatCode>
                <c:ptCount val="14"/>
                <c:pt idx="1">
                  <c:v>643.2318</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2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R$2:$R$15</c:f>
              <c:numCache>
                <c:formatCode>General</c:formatCode>
                <c:ptCount val="14"/>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S$2:$S$15</c:f>
              <c:numCache>
                <c:formatCode>General</c:formatCode>
                <c:ptCount val="14"/>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T$2:$T$15</c:f>
              <c:numCache>
                <c:formatCode>General</c:formatCode>
                <c:ptCount val="14"/>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U$2:$U$15</c:f>
              <c:numCache>
                <c:formatCode>General</c:formatCode>
                <c:ptCount val="14"/>
                <c:pt idx="0">
                  <c:v>626.567</c:v>
                </c:pt>
                <c:pt idx="2">
                  <c:v>646.772</c:v>
                </c:pt>
                <c:pt idx="5">
                  <c:v>340.8083</c:v>
                </c:pt>
                <c:pt idx="11">
                  <c:v>342.1964</c:v>
                </c:pt>
                <c:pt idx="13">
                  <c:v>277.0625</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V$2:$V$15</c:f>
              <c:numCache>
                <c:formatCode>General</c:formatCode>
                <c:ptCount val="14"/>
                <c:pt idx="5">
                  <c:v>64.4328</c:v>
                </c:pt>
                <c:pt idx="7">
                  <c:v>69.0348</c:v>
                </c:pt>
                <c:pt idx="8">
                  <c:v>69.3</c:v>
                </c:pt>
                <c:pt idx="9">
                  <c:v>54.3333</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W$2:$W$15</c:f>
              <c:numCache>
                <c:formatCode>General</c:formatCode>
                <c:ptCount val="14"/>
                <c:pt idx="10">
                  <c:v>268.0921</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5</c:f>
              <c:multiLvlStrCache>
                <c:ptCount val="14"/>
                <c:lvl>
                  <c:pt idx="0">
                    <c:v>Sunscreen Crema</c:v>
                  </c:pt>
                  <c:pt idx="1">
                    <c:v>Sunscreen Gel</c:v>
                  </c:pt>
                  <c:pt idx="2">
                    <c:v>Sunscreen Fluido</c:v>
                  </c:pt>
                  <c:pt idx="3">
                    <c:v>Sunscreen Stick</c:v>
                  </c:pt>
                  <c:pt idx="4">
                    <c:v>Sunscreen Aceite</c:v>
                  </c:pt>
                  <c:pt idx="5">
                    <c:v>Sunscreen Liquido</c:v>
                  </c:pt>
                  <c:pt idx="6">
                    <c:v>Sunscreen Crema</c:v>
                  </c:pt>
                  <c:pt idx="7">
                    <c:v>Sunscreen Liquido</c:v>
                  </c:pt>
                  <c:pt idx="8">
                    <c:v>Sunscreen Locion</c:v>
                  </c:pt>
                  <c:pt idx="9">
                    <c:v>Sunscreen Crema</c:v>
                  </c:pt>
                  <c:pt idx="10">
                    <c:v>Sunscreen Roll-On</c:v>
                  </c:pt>
                  <c:pt idx="11">
                    <c:v>Sunscreen Fluido</c:v>
                  </c:pt>
                  <c:pt idx="12">
                    <c:v>Sunscreen Aceite</c:v>
                  </c:pt>
                  <c:pt idx="13">
                    <c:v>Sunscreen Liquido</c:v>
                  </c:pt>
                </c:lvl>
                <c:lvl>
                  <c:pt idx="0">
                    <c:v>Isdin</c:v>
                  </c:pt>
                  <c:pt idx="5">
                    <c:v>Hawaiian Tropic</c:v>
                  </c:pt>
                  <c:pt idx="7">
                    <c:v>Banana Boat</c:v>
                  </c:pt>
                  <c:pt idx="13">
                    <c:v>Beauty Care</c:v>
                  </c:pt>
                </c:lvl>
              </c:multiLvlStrCache>
            </c:multiLvlStrRef>
          </c:cat>
          <c:val>
            <c:numRef>
              <c:f>Sheet1!$X$2:$X$15</c:f>
              <c:numCache>
                <c:formatCode>General</c:formatCode>
                <c:ptCount val="14"/>
                <c:pt idx="5">
                  <c:v>123.8644</c:v>
                </c:pt>
                <c:pt idx="6">
                  <c:v>104.17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C$2:$C$10</c:f>
              <c:numCache>
                <c:formatCode>General</c:formatCode>
                <c:ptCount val="9"/>
                <c:pt idx="8">
                  <c:v>205.8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D$2:$D$10</c:f>
              <c:numCache>
                <c:formatCode>General</c:formatCode>
                <c:ptCount val="9"/>
                <c:pt idx="7">
                  <c:v>156.23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E$2:$E$10</c:f>
              <c:numCache>
                <c:formatCode>General</c:formatCode>
                <c:ptCount val="9"/>
                <c:pt idx="0">
                  <c:v>169.53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F$2:$F$10</c:f>
              <c:numCache>
                <c:formatCode>General</c:formatCode>
                <c:ptCount val="9"/>
                <c:pt idx="2">
                  <c:v>280.430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G$2:$G$10</c:f>
              <c:numCache>
                <c:formatCode>General</c:formatCode>
                <c:ptCount val="9"/>
                <c:pt idx="4">
                  <c:v>296.3875</c:v>
                </c:pt>
                <c:pt idx="5">
                  <c:v>196.3737</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H$2:$H$10</c:f>
              <c:numCache>
                <c:formatCode>General</c:formatCode>
                <c:ptCount val="9"/>
                <c:pt idx="3">
                  <c:v>268.9214</c:v>
                </c:pt>
                <c:pt idx="4">
                  <c:v>216.8653</c:v>
                </c:pt>
                <c:pt idx="5">
                  <c:v>191.6527</c:v>
                </c:pt>
                <c:pt idx="6">
                  <c:v>195.667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I$2:$I$10</c:f>
              <c:numCache>
                <c:formatCode>General</c:formatCode>
                <c:ptCount val="9"/>
                <c:pt idx="0">
                  <c:v>289.7482</c:v>
                </c:pt>
                <c:pt idx="1">
                  <c:v>268.170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2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J$2:$J$10</c:f>
              <c:numCache>
                <c:formatCode>General</c:formatCode>
                <c:ptCount val="9"/>
                <c:pt idx="6">
                  <c:v>220.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36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K$2:$K$10</c:f>
              <c:numCache>
                <c:formatCode>General</c:formatCode>
                <c:ptCount val="9"/>
                <c:pt idx="3">
                  <c:v>242.1726</c:v>
                </c:pt>
                <c:pt idx="4">
                  <c:v>153.291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L$2:$L$10</c:f>
              <c:numCache>
                <c:formatCode>General</c:formatCode>
                <c:ptCount val="9"/>
                <c:pt idx="5">
                  <c:v>157.9333</c:v>
                </c:pt>
                <c:pt idx="6">
                  <c:v>229.8458</c:v>
                </c:pt>
                <c:pt idx="7">
                  <c:v>226.769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M$2:$M$10</c:f>
              <c:numCache>
                <c:formatCode>General</c:formatCode>
                <c:ptCount val="9"/>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N$2:$N$10</c:f>
              <c:numCache>
                <c:formatCode>General</c:formatCode>
                <c:ptCount val="9"/>
                <c:pt idx="1">
                  <c:v>254.462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O$2:$O$10</c:f>
              <c:numCache>
                <c:formatCode>General</c:formatCode>
                <c:ptCount val="9"/>
                <c:pt idx="1">
                  <c:v>231.3578</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P$2:$P$10</c:f>
              <c:numCache>
                <c:formatCode>General</c:formatCode>
                <c:ptCount val="9"/>
                <c:pt idx="4">
                  <c:v>230.7012</c:v>
                </c:pt>
                <c:pt idx="5">
                  <c:v>93.5684</c:v>
                </c:pt>
                <c:pt idx="6">
                  <c:v>97.014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unscreen Liquido</c:v>
                  </c:pt>
                  <c:pt idx="1">
                    <c:v>Sunscreen Crema</c:v>
                  </c:pt>
                  <c:pt idx="2">
                    <c:v>Sunscreen Gel</c:v>
                  </c:pt>
                  <c:pt idx="3">
                    <c:v>Sunscreen Crema</c:v>
                  </c:pt>
                  <c:pt idx="4">
                    <c:v>Sunscreen Locion</c:v>
                  </c:pt>
                  <c:pt idx="5">
                    <c:v>Sunscreen Liquido</c:v>
                  </c:pt>
                  <c:pt idx="6">
                    <c:v>Sunscreen Liquido</c:v>
                  </c:pt>
                  <c:pt idx="7">
                    <c:v>Sunscreen Crema</c:v>
                  </c:pt>
                  <c:pt idx="8">
                    <c:v>Sunscreen Liquido</c:v>
                  </c:pt>
                </c:lvl>
                <c:lvl>
                  <c:pt idx="0">
                    <c:v>Nivea</c:v>
                  </c:pt>
                  <c:pt idx="3">
                    <c:v>Banana Boat</c:v>
                  </c:pt>
                  <c:pt idx="6">
                    <c:v>Hawaiian Tropic</c:v>
                  </c:pt>
                  <c:pt idx="8">
                    <c:v>Beauty Care</c:v>
                  </c:pt>
                </c:lvl>
              </c:multiLvlStrCache>
            </c:multiLvlStrRef>
          </c:cat>
          <c:val>
            <c:numRef>
              <c:f>Sheet1!$Q$2:$Q$10</c:f>
              <c:numCache>
                <c:formatCode>General</c:formatCode>
                <c:ptCount val="9"/>
                <c:pt idx="6">
                  <c:v>88.515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C$2:$C$14</c:f>
              <c:numCache>
                <c:formatCode>General</c:formatCode>
                <c:ptCount val="13"/>
                <c:pt idx="4">
                  <c:v>242.6011</c:v>
                </c:pt>
                <c:pt idx="12">
                  <c:v>199.0138</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D$2:$D$14</c:f>
              <c:numCache>
                <c:formatCode>General</c:formatCode>
                <c:ptCount val="13"/>
                <c:pt idx="6">
                  <c:v>139.97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E$2:$E$14</c:f>
              <c:numCache>
                <c:formatCode>General</c:formatCode>
                <c:ptCount val="13"/>
                <c:pt idx="4">
                  <c:v>187.6911</c:v>
                </c:pt>
                <c:pt idx="5">
                  <c:v>180.826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F$2:$F$14</c:f>
              <c:numCache>
                <c:formatCode>General</c:formatCode>
                <c:ptCount val="13"/>
                <c:pt idx="1">
                  <c:v>175.096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G$2:$G$14</c:f>
              <c:numCache>
                <c:formatCode>General</c:formatCode>
                <c:ptCount val="13"/>
                <c:pt idx="2">
                  <c:v>253.576</c:v>
                </c:pt>
                <c:pt idx="4">
                  <c:v>238.782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H$2:$H$14</c:f>
              <c:numCache>
                <c:formatCode>General</c:formatCode>
                <c:ptCount val="13"/>
                <c:pt idx="6">
                  <c:v>265.5324</c:v>
                </c:pt>
                <c:pt idx="7">
                  <c:v>234.0</c:v>
                </c:pt>
                <c:pt idx="8">
                  <c:v>275.9238</c:v>
                </c:pt>
                <c:pt idx="9">
                  <c:v>218.735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7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I$2:$I$14</c:f>
              <c:numCache>
                <c:formatCode>General</c:formatCode>
                <c:ptCount val="13"/>
                <c:pt idx="4">
                  <c:v>67.790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J$2:$J$14</c:f>
              <c:numCache>
                <c:formatCode>General</c:formatCode>
                <c:ptCount val="13"/>
                <c:pt idx="4">
                  <c:v>268.1255</c:v>
                </c:pt>
                <c:pt idx="5">
                  <c:v>101.8947</c:v>
                </c:pt>
                <c:pt idx="6">
                  <c:v>278.0519</c:v>
                </c:pt>
                <c:pt idx="7">
                  <c:v>214.2386</c:v>
                </c:pt>
                <c:pt idx="8">
                  <c:v>215.473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K$2:$K$14</c:f>
              <c:numCache>
                <c:formatCode>General</c:formatCode>
                <c:ptCount val="13"/>
                <c:pt idx="0">
                  <c:v>259.6867</c:v>
                </c:pt>
                <c:pt idx="1">
                  <c:v>264.3868</c:v>
                </c:pt>
                <c:pt idx="2">
                  <c:v>259.883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2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L$2:$L$14</c:f>
              <c:numCache>
                <c:formatCode>General</c:formatCode>
                <c:ptCount val="13"/>
                <c:pt idx="4">
                  <c:v>270.0428</c:v>
                </c:pt>
                <c:pt idx="7">
                  <c:v>200.8932</c:v>
                </c:pt>
                <c:pt idx="8">
                  <c:v>261.2349</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36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M$2:$M$14</c:f>
              <c:numCache>
                <c:formatCode>General</c:formatCode>
                <c:ptCount val="13"/>
                <c:pt idx="6">
                  <c:v>237.0703</c:v>
                </c:pt>
                <c:pt idx="7">
                  <c:v>244.655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N$2:$N$14</c:f>
              <c:numCache>
                <c:formatCode>General</c:formatCode>
                <c:ptCount val="13"/>
                <c:pt idx="4">
                  <c:v>255.5564</c:v>
                </c:pt>
                <c:pt idx="5">
                  <c:v>261.2444</c:v>
                </c:pt>
                <c:pt idx="8">
                  <c:v>230.552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O$2:$O$14</c:f>
              <c:numCache>
                <c:formatCode>General</c:formatCode>
                <c:ptCount val="1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P$2:$P$14</c:f>
              <c:numCache>
                <c:formatCode>General</c:formatCode>
                <c:ptCount val="13"/>
                <c:pt idx="7">
                  <c:v>5.0</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Q$2:$Q$14</c:f>
              <c:numCache>
                <c:formatCode>General</c:formatCode>
                <c:ptCount val="13"/>
                <c:pt idx="9">
                  <c:v>304.8076</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R$2:$R$14</c:f>
              <c:numCache>
                <c:formatCode>General</c:formatCode>
                <c:ptCount val="13"/>
                <c:pt idx="0">
                  <c:v>247.3412</c:v>
                </c:pt>
                <c:pt idx="3">
                  <c:v>243.3535</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5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S$2:$S$14</c:f>
              <c:numCache>
                <c:formatCode>General</c:formatCode>
                <c:ptCount val="13"/>
                <c:pt idx="0">
                  <c:v>231.7299</c:v>
                </c:pt>
                <c:pt idx="4">
                  <c:v>222.5471</c:v>
                </c:pt>
                <c:pt idx="11">
                  <c:v>269.4524</c:v>
                </c:pt>
                <c:pt idx="12">
                  <c:v>206.8187</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6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T$2:$T$14</c:f>
              <c:numCache>
                <c:formatCode>General</c:formatCode>
                <c:ptCount val="13"/>
                <c:pt idx="4">
                  <c:v>102.21</c:v>
                </c:pt>
                <c:pt idx="6">
                  <c:v>196.5366</c:v>
                </c:pt>
                <c:pt idx="7">
                  <c:v>6.4724</c:v>
                </c:pt>
                <c:pt idx="8">
                  <c:v>83.5489</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7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U$2:$U$14</c:f>
              <c:numCache>
                <c:formatCode>General</c:formatCode>
                <c:ptCount val="13"/>
                <c:pt idx="10">
                  <c:v>204.0581</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85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V$2:$V$14</c:f>
              <c:numCache>
                <c:formatCode>General</c:formatCode>
                <c:ptCount val="13"/>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9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4</c:f>
              <c:multiLvlStrCache>
                <c:ptCount val="13"/>
                <c:lvl>
                  <c:pt idx="0">
                    <c:v>Sunscreen Crema</c:v>
                  </c:pt>
                  <c:pt idx="1">
                    <c:v>Sunscreen Liquido</c:v>
                  </c:pt>
                  <c:pt idx="2">
                    <c:v>Sunscreen Gel</c:v>
                  </c:pt>
                  <c:pt idx="3">
                    <c:v>Sunscreen Fluido</c:v>
                  </c:pt>
                  <c:pt idx="4">
                    <c:v>Sunscreen Liquido</c:v>
                  </c:pt>
                  <c:pt idx="5">
                    <c:v>Sunscreen Crema</c:v>
                  </c:pt>
                  <c:pt idx="6">
                    <c:v>Sunscreen Locion</c:v>
                  </c:pt>
                  <c:pt idx="7">
                    <c:v>Sunscreen Crema</c:v>
                  </c:pt>
                  <c:pt idx="8">
                    <c:v>Sunscreen Liquido</c:v>
                  </c:pt>
                  <c:pt idx="9">
                    <c:v>Sunscreen Spray</c:v>
                  </c:pt>
                  <c:pt idx="10">
                    <c:v>Sunscreen Roll-On</c:v>
                  </c:pt>
                  <c:pt idx="11">
                    <c:v>Sunscreen Fluido</c:v>
                  </c:pt>
                  <c:pt idx="12">
                    <c:v>Sunscreen Liquido</c:v>
                  </c:pt>
                </c:lvl>
                <c:lvl>
                  <c:pt idx="0">
                    <c:v>Nivea</c:v>
                  </c:pt>
                  <c:pt idx="4">
                    <c:v>Hawaiian Tropic</c:v>
                  </c:pt>
                  <c:pt idx="6">
                    <c:v>Banana Boat</c:v>
                  </c:pt>
                  <c:pt idx="12">
                    <c:v>Beauty Care</c:v>
                  </c:pt>
                </c:lvl>
              </c:multiLvlStrCache>
            </c:multiLvlStrRef>
          </c:cat>
          <c:val>
            <c:numRef>
              <c:f>Sheet1!$W$2:$W$14</c:f>
              <c:numCache>
                <c:formatCode>General</c:formatCode>
                <c:ptCount val="13"/>
                <c:pt idx="4">
                  <c:v>96.260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5.48</a:t>
                    </a:r>
                  </a:p>
                </c:rich>
              </c:tx>
              <c:dLblPos val="t"/>
              <c:showLegendKey val="0"/>
              <c:showVal val="1"/>
              <c:showCatName val="0"/>
              <c:showSerName val="0"/>
              <c:showPercent val="0"/>
              <c:showBubbleSize val="0"/>
            </c:dLbl>
            <c:dLbl>
              <c:idx val="1"/>
              <c:tx>
                <c:rich>
                  <a:bodyPr/>
                  <a:lstStyle/>
                  <a:p>
                    <a:r>
                      <a:t>351.2</a:t>
                    </a:r>
                  </a:p>
                </c:rich>
              </c:tx>
              <c:dLblPos val="t"/>
              <c:showLegendKey val="0"/>
              <c:showVal val="1"/>
              <c:showCatName val="0"/>
              <c:showSerName val="0"/>
              <c:showPercent val="0"/>
              <c:showBubbleSize val="0"/>
            </c:dLbl>
            <c:dLbl>
              <c:idx val="2"/>
              <c:tx>
                <c:rich>
                  <a:bodyPr/>
                  <a:lstStyle/>
                  <a:p>
                    <a:r>
                      <a:t>370.13</a:t>
                    </a:r>
                  </a:p>
                </c:rich>
              </c:tx>
              <c:dLblPos val="t"/>
              <c:showLegendKey val="0"/>
              <c:showVal val="1"/>
              <c:showCatName val="0"/>
              <c:showSerName val="0"/>
              <c:showPercent val="0"/>
              <c:showBubbleSize val="0"/>
            </c:dLbl>
            <c:dLbl>
              <c:idx val="3"/>
              <c:tx>
                <c:rich>
                  <a:bodyPr/>
                  <a:lstStyle/>
                  <a:p>
                    <a:r>
                      <a:t>398.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Sensitive Sunscreen Adults Cosmetics Liquido 50+ 180Ml</c:v>
                </c:pt>
              </c:strCache>
            </c:strRef>
          </c:cat>
          <c:val>
            <c:numRef>
              <c:f>Sheet1!$B$2:$B$5</c:f>
              <c:numCache>
                <c:formatCode>General</c:formatCode>
                <c:ptCount val="4"/>
                <c:pt idx="0">
                  <c:v>375.48</c:v>
                </c:pt>
                <c:pt idx="1">
                  <c:v>351.2</c:v>
                </c:pt>
                <c:pt idx="2">
                  <c:v>370.13</c:v>
                </c:pt>
                <c:pt idx="3">
                  <c:v>398.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6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Antioxidant Sunscreen Adults Cosmetics Liquido 15 - 19 100Ml</c:v>
                </c:pt>
              </c:strCache>
            </c:strRef>
          </c:cat>
          <c:val>
            <c:numRef>
              <c:f>Sheet1!$B$2:$B$2</c:f>
              <c:numCache>
                <c:formatCode>General</c:formatCode>
                <c:ptCount val="1"/>
                <c:pt idx="0">
                  <c:v>224.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19</a:t>
                    </a:r>
                  </a:p>
                </c:rich>
              </c:tx>
              <c:dLblPos val="t"/>
              <c:showLegendKey val="0"/>
              <c:showVal val="1"/>
              <c:showCatName val="0"/>
              <c:showSerName val="0"/>
              <c:showPercent val="0"/>
              <c:showBubbleSize val="0"/>
            </c:dLbl>
            <c:dLbl>
              <c:idx val="1"/>
              <c:tx>
                <c:rich>
                  <a:bodyPr/>
                  <a:lstStyle/>
                  <a:p>
                    <a:r>
                      <a:t>263.8</a:t>
                    </a:r>
                  </a:p>
                </c:rich>
              </c:tx>
              <c:dLblPos val="t"/>
              <c:showLegendKey val="0"/>
              <c:showVal val="1"/>
              <c:showCatName val="0"/>
              <c:showSerName val="0"/>
              <c:showPercent val="0"/>
              <c:showBubbleSize val="0"/>
            </c:dLbl>
            <c:dLbl>
              <c:idx val="2"/>
              <c:tx>
                <c:rich>
                  <a:bodyPr/>
                  <a:lstStyle/>
                  <a:p>
                    <a:r>
                      <a:t>260.44</a:t>
                    </a:r>
                  </a:p>
                </c:rich>
              </c:tx>
              <c:dLblPos val="t"/>
              <c:showLegendKey val="0"/>
              <c:showVal val="1"/>
              <c:showCatName val="0"/>
              <c:showSerName val="0"/>
              <c:showPercent val="0"/>
              <c:showBubbleSize val="0"/>
            </c:dLbl>
            <c:dLbl>
              <c:idx val="3"/>
              <c:tx>
                <c:rich>
                  <a:bodyPr/>
                  <a:lstStyle/>
                  <a:p>
                    <a:r>
                      <a:t>232.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4.19</c:v>
                </c:pt>
                <c:pt idx="1">
                  <c:v>263.8</c:v>
                </c:pt>
                <c:pt idx="2">
                  <c:v>260.44</c:v>
                </c:pt>
                <c:pt idx="3">
                  <c:v>232.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2</a:t>
                    </a:r>
                  </a:p>
                </c:rich>
              </c:tx>
              <c:dLblPos val="t"/>
              <c:showLegendKey val="0"/>
              <c:showVal val="1"/>
              <c:showCatName val="0"/>
              <c:showSerName val="0"/>
              <c:showPercent val="0"/>
              <c:showBubbleSize val="0"/>
            </c:dLbl>
            <c:dLbl>
              <c:idx val="1"/>
              <c:tx>
                <c:rich>
                  <a:bodyPr/>
                  <a:lstStyle/>
                  <a:p>
                    <a:r>
                      <a:t>318.53</a:t>
                    </a:r>
                  </a:p>
                </c:rich>
              </c:tx>
              <c:dLblPos val="t"/>
              <c:showLegendKey val="0"/>
              <c:showVal val="1"/>
              <c:showCatName val="0"/>
              <c:showSerName val="0"/>
              <c:showPercent val="0"/>
              <c:showBubbleSize val="0"/>
            </c:dLbl>
            <c:dLbl>
              <c:idx val="2"/>
              <c:tx>
                <c:rich>
                  <a:bodyPr/>
                  <a:lstStyle/>
                  <a:p>
                    <a:r>
                      <a:t>347.12</a:t>
                    </a:r>
                  </a:p>
                </c:rich>
              </c:tx>
              <c:dLblPos val="t"/>
              <c:showLegendKey val="0"/>
              <c:showVal val="1"/>
              <c:showCatName val="0"/>
              <c:showSerName val="0"/>
              <c:showPercent val="0"/>
              <c:showBubbleSize val="0"/>
            </c:dLbl>
            <c:dLbl>
              <c:idx val="3"/>
              <c:tx>
                <c:rich>
                  <a:bodyPr/>
                  <a:lstStyle/>
                  <a:p>
                    <a:r>
                      <a:t>330.0</a:t>
                    </a:r>
                  </a:p>
                </c:rich>
              </c:tx>
              <c:dLblPos val="t"/>
              <c:showLegendKey val="0"/>
              <c:showVal val="1"/>
              <c:showCatName val="0"/>
              <c:showSerName val="0"/>
              <c:showPercent val="0"/>
              <c:showBubbleSize val="0"/>
            </c:dLbl>
            <c:dLbl>
              <c:idx val="4"/>
              <c:tx>
                <c:rich>
                  <a:bodyPr/>
                  <a:lstStyle/>
                  <a:p>
                    <a:r>
                      <a:t>325.31</a:t>
                    </a:r>
                  </a:p>
                </c:rich>
              </c:tx>
              <c:dLblPos val="t"/>
              <c:showLegendKey val="0"/>
              <c:showVal val="1"/>
              <c:showCatName val="0"/>
              <c:showSerName val="0"/>
              <c:showPercent val="0"/>
              <c:showBubbleSize val="0"/>
            </c:dLbl>
            <c:dLbl>
              <c:idx val="5"/>
              <c:tx>
                <c:rich>
                  <a:bodyPr/>
                  <a:lstStyle/>
                  <a:p>
                    <a:r>
                      <a:t>313.71</a:t>
                    </a:r>
                  </a:p>
                </c:rich>
              </c:tx>
              <c:dLblPos val="t"/>
              <c:showLegendKey val="0"/>
              <c:showVal val="1"/>
              <c:showCatName val="0"/>
              <c:showSerName val="0"/>
              <c:showPercent val="0"/>
              <c:showBubbleSize val="0"/>
            </c:dLbl>
            <c:dLbl>
              <c:idx val="6"/>
              <c:tx>
                <c:rich>
                  <a:bodyPr/>
                  <a:lstStyle/>
                  <a:p>
                    <a:r>
                      <a:t>97.58</a:t>
                    </a:r>
                  </a:p>
                </c:rich>
              </c:tx>
              <c:dLblPos val="t"/>
              <c:showLegendKey val="0"/>
              <c:showVal val="1"/>
              <c:showCatName val="0"/>
              <c:showSerName val="0"/>
              <c:showPercent val="0"/>
              <c:showBubbleSize val="0"/>
            </c:dLbl>
            <c:dLbl>
              <c:idx val="7"/>
              <c:tx>
                <c:rich>
                  <a:bodyPr/>
                  <a:lstStyle/>
                  <a:p>
                    <a:r>
                      <a:t>80.72</a:t>
                    </a:r>
                  </a:p>
                </c:rich>
              </c:tx>
              <c:dLblPos val="t"/>
              <c:showLegendKey val="0"/>
              <c:showVal val="1"/>
              <c:showCatName val="0"/>
              <c:showSerName val="0"/>
              <c:showPercent val="0"/>
              <c:showBubbleSize val="0"/>
            </c:dLbl>
            <c:dLbl>
              <c:idx val="8"/>
              <c:tx>
                <c:rich>
                  <a:bodyPr/>
                  <a:lstStyle/>
                  <a:p>
                    <a:r>
                      <a:t>397.68</a:t>
                    </a:r>
                  </a:p>
                </c:rich>
              </c:tx>
              <c:dLblPos val="t"/>
              <c:showLegendKey val="0"/>
              <c:showVal val="1"/>
              <c:showCatName val="0"/>
              <c:showSerName val="0"/>
              <c:showPercent val="0"/>
              <c:showBubbleSize val="0"/>
            </c:dLbl>
            <c:dLbl>
              <c:idx val="9"/>
              <c:tx>
                <c:rich>
                  <a:bodyPr/>
                  <a:lstStyle/>
                  <a:p>
                    <a:r>
                      <a:t>252.72</a:t>
                    </a:r>
                  </a:p>
                </c:rich>
              </c:tx>
              <c:dLblPos val="t"/>
              <c:showLegendKey val="0"/>
              <c:showVal val="1"/>
              <c:showCatName val="0"/>
              <c:showSerName val="0"/>
              <c:showPercent val="0"/>
              <c:showBubbleSize val="0"/>
            </c:dLbl>
            <c:dLbl>
              <c:idx val="10"/>
              <c:tx>
                <c:rich>
                  <a:bodyPr/>
                  <a:lstStyle/>
                  <a:p>
                    <a:r>
                      <a:t>273.42</a:t>
                    </a:r>
                  </a:p>
                </c:rich>
              </c:tx>
              <c:dLblPos val="t"/>
              <c:showLegendKey val="0"/>
              <c:showVal val="1"/>
              <c:showCatName val="0"/>
              <c:showSerName val="0"/>
              <c:showPercent val="0"/>
              <c:showBubbleSize val="0"/>
            </c:dLbl>
            <c:dLbl>
              <c:idx val="11"/>
              <c:tx>
                <c:rich>
                  <a:bodyPr/>
                  <a:lstStyle/>
                  <a:p>
                    <a:r>
                      <a:t>272.33</a:t>
                    </a:r>
                  </a:p>
                </c:rich>
              </c:tx>
              <c:dLblPos val="t"/>
              <c:showLegendKey val="0"/>
              <c:showVal val="1"/>
              <c:showCatName val="0"/>
              <c:showSerName val="0"/>
              <c:showPercent val="0"/>
              <c:showBubbleSize val="0"/>
            </c:dLbl>
            <c:dLbl>
              <c:idx val="12"/>
              <c:tx>
                <c:rich>
                  <a:bodyPr/>
                  <a:lstStyle/>
                  <a:p>
                    <a:r>
                      <a:t>310.55</a:t>
                    </a:r>
                  </a:p>
                </c:rich>
              </c:tx>
              <c:dLblPos val="t"/>
              <c:showLegendKey val="0"/>
              <c:showVal val="1"/>
              <c:showCatName val="0"/>
              <c:showSerName val="0"/>
              <c:showPercent val="0"/>
              <c:showBubbleSize val="0"/>
            </c:dLbl>
            <c:dLbl>
              <c:idx val="13"/>
              <c:tx>
                <c:rich>
                  <a:bodyPr/>
                  <a:lstStyle/>
                  <a:p>
                    <a:r>
                      <a:t>277.66</a:t>
                    </a:r>
                  </a:p>
                </c:rich>
              </c:tx>
              <c:dLblPos val="t"/>
              <c:showLegendKey val="0"/>
              <c:showVal val="1"/>
              <c:showCatName val="0"/>
              <c:showSerName val="0"/>
              <c:showPercent val="0"/>
              <c:showBubbleSize val="0"/>
            </c:dLbl>
            <c:dLbl>
              <c:idx val="14"/>
              <c:tx>
                <c:rich>
                  <a:bodyPr/>
                  <a:lstStyle/>
                  <a:p>
                    <a:r>
                      <a:t>229.0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Hawaiian Tropic Island Sport Sunscreen Adults Sport Spray Liquido 50 220Ml</c:v>
                </c:pt>
                <c:pt idx="3">
                  <c:v>Edgewell Hawaiian Tropic Island Sport Sunscreen Adults Sport Liquido 50 240Ml</c:v>
                </c:pt>
                <c:pt idx="4">
                  <c:v>Edgewell Hawaiian Tropic Ozono Sunscreen Adults Cosmetics Spray Liquido 50+ 180Ml</c:v>
                </c:pt>
                <c:pt idx="5">
                  <c:v>Edgewell Hawaiian Tropic Tanning Sunscreen Adults Cosmetics Spray Liquido 15 - 19 220Ml</c:v>
                </c:pt>
                <c:pt idx="6">
                  <c:v>Edgewell Hawaiian Tropic Sheer Touch Sunscreen Adults Cosmetics Liquido 30 - 49 60Ml</c:v>
                </c:pt>
                <c:pt idx="7">
                  <c:v>Edgewell Hawaiian Tropic Island Sport Sunscreen Adults Sport Liquido 50 60Ml</c:v>
                </c:pt>
                <c:pt idx="8">
                  <c:v>Edgewell Hawaiian Tropic Silk Hydration Sunscreen Adults Cosmetics Liquido 50 180Ml</c:v>
                </c:pt>
                <c:pt idx="9">
                  <c:v>Edgewell Hawaiian Tropic Carrot Sunscreen Adults Cosmetics Spray Liquido 30 - 49 177Ml</c:v>
                </c:pt>
                <c:pt idx="10">
                  <c:v>Edgewell Hawaiian Tropic Silk Hydration Sunscreen Adults Cosmetics Spray Liquido 50+ 180Ml</c:v>
                </c:pt>
                <c:pt idx="11">
                  <c:v>Edgewell Hawaiian Tropic Silk Hydration Sunscreen Adults Cosmetics Spray Liquido 50 150Ml</c:v>
                </c:pt>
                <c:pt idx="12">
                  <c:v>Edgewell Hawaiian Tropic Ozono Sunscreen Adults Cosmetics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05.32</c:v>
                </c:pt>
                <c:pt idx="1">
                  <c:v>318.53</c:v>
                </c:pt>
                <c:pt idx="2">
                  <c:v>347.12</c:v>
                </c:pt>
                <c:pt idx="3">
                  <c:v>330.0</c:v>
                </c:pt>
                <c:pt idx="4">
                  <c:v>325.31</c:v>
                </c:pt>
                <c:pt idx="5">
                  <c:v>313.71</c:v>
                </c:pt>
                <c:pt idx="6">
                  <c:v>97.58</c:v>
                </c:pt>
                <c:pt idx="7">
                  <c:v>80.72</c:v>
                </c:pt>
                <c:pt idx="8">
                  <c:v>397.68</c:v>
                </c:pt>
                <c:pt idx="9">
                  <c:v>252.72</c:v>
                </c:pt>
                <c:pt idx="10">
                  <c:v>273.42</c:v>
                </c:pt>
                <c:pt idx="11">
                  <c:v>272.33</c:v>
                </c:pt>
                <c:pt idx="12">
                  <c:v>310.55</c:v>
                </c:pt>
                <c:pt idx="13">
                  <c:v>277.66</c:v>
                </c:pt>
                <c:pt idx="14">
                  <c:v>229.0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59</a:t>
                    </a:r>
                  </a:p>
                </c:rich>
              </c:tx>
              <c:dLblPos val="t"/>
              <c:showLegendKey val="0"/>
              <c:showVal val="1"/>
              <c:showCatName val="0"/>
              <c:showSerName val="0"/>
              <c:showPercent val="0"/>
              <c:showBubbleSize val="0"/>
            </c:dLbl>
            <c:dLbl>
              <c:idx val="1"/>
              <c:tx>
                <c:rich>
                  <a:bodyPr/>
                  <a:lstStyle/>
                  <a:p>
                    <a:r>
                      <a:t>305.15</a:t>
                    </a:r>
                  </a:p>
                </c:rich>
              </c:tx>
              <c:dLblPos val="t"/>
              <c:showLegendKey val="0"/>
              <c:showVal val="1"/>
              <c:showCatName val="0"/>
              <c:showSerName val="0"/>
              <c:showPercent val="0"/>
              <c:showBubbleSize val="0"/>
            </c:dLbl>
            <c:dLbl>
              <c:idx val="2"/>
              <c:tx>
                <c:rich>
                  <a:bodyPr/>
                  <a:lstStyle/>
                  <a:p>
                    <a:r>
                      <a:t>325.25</a:t>
                    </a:r>
                  </a:p>
                </c:rich>
              </c:tx>
              <c:dLblPos val="t"/>
              <c:showLegendKey val="0"/>
              <c:showVal val="1"/>
              <c:showCatName val="0"/>
              <c:showSerName val="0"/>
              <c:showPercent val="0"/>
              <c:showBubbleSize val="0"/>
            </c:dLbl>
            <c:dLbl>
              <c:idx val="3"/>
              <c:tx>
                <c:rich>
                  <a:bodyPr/>
                  <a:lstStyle/>
                  <a:p>
                    <a:r>
                      <a:t>311.89</a:t>
                    </a:r>
                  </a:p>
                </c:rich>
              </c:tx>
              <c:dLblPos val="t"/>
              <c:showLegendKey val="0"/>
              <c:showVal val="1"/>
              <c:showCatName val="0"/>
              <c:showSerName val="0"/>
              <c:showPercent val="0"/>
              <c:showBubbleSize val="0"/>
            </c:dLbl>
            <c:dLbl>
              <c:idx val="4"/>
              <c:tx>
                <c:rich>
                  <a:bodyPr/>
                  <a:lstStyle/>
                  <a:p>
                    <a:r>
                      <a:t>101.93</a:t>
                    </a:r>
                  </a:p>
                </c:rich>
              </c:tx>
              <c:dLblPos val="t"/>
              <c:showLegendKey val="0"/>
              <c:showVal val="1"/>
              <c:showCatName val="0"/>
              <c:showSerName val="0"/>
              <c:showPercent val="0"/>
              <c:showBubbleSize val="0"/>
            </c:dLbl>
            <c:dLbl>
              <c:idx val="5"/>
              <c:tx>
                <c:rich>
                  <a:bodyPr/>
                  <a:lstStyle/>
                  <a:p>
                    <a:r>
                      <a:t>297.28</a:t>
                    </a:r>
                  </a:p>
                </c:rich>
              </c:tx>
              <c:dLblPos val="t"/>
              <c:showLegendKey val="0"/>
              <c:showVal val="1"/>
              <c:showCatName val="0"/>
              <c:showSerName val="0"/>
              <c:showPercent val="0"/>
              <c:showBubbleSize val="0"/>
            </c:dLbl>
            <c:dLbl>
              <c:idx val="6"/>
              <c:tx>
                <c:rich>
                  <a:bodyPr/>
                  <a:lstStyle/>
                  <a:p>
                    <a:r>
                      <a:t>86.25</a:t>
                    </a:r>
                  </a:p>
                </c:rich>
              </c:tx>
              <c:dLblPos val="t"/>
              <c:showLegendKey val="0"/>
              <c:showVal val="1"/>
              <c:showCatName val="0"/>
              <c:showSerName val="0"/>
              <c:showPercent val="0"/>
              <c:showBubbleSize val="0"/>
            </c:dLbl>
            <c:dLbl>
              <c:idx val="7"/>
              <c:tx>
                <c:rich>
                  <a:bodyPr/>
                  <a:lstStyle/>
                  <a:p>
                    <a:r>
                      <a:t>309.44</a:t>
                    </a:r>
                  </a:p>
                </c:rich>
              </c:tx>
              <c:dLblPos val="t"/>
              <c:showLegendKey val="0"/>
              <c:showVal val="1"/>
              <c:showCatName val="0"/>
              <c:showSerName val="0"/>
              <c:showPercent val="0"/>
              <c:showBubbleSize val="0"/>
            </c:dLbl>
            <c:dLbl>
              <c:idx val="8"/>
              <c:tx>
                <c:rich>
                  <a:bodyPr/>
                  <a:lstStyle/>
                  <a:p>
                    <a:r>
                      <a:t>292.64</a:t>
                    </a:r>
                  </a:p>
                </c:rich>
              </c:tx>
              <c:dLblPos val="t"/>
              <c:showLegendKey val="0"/>
              <c:showVal val="1"/>
              <c:showCatName val="0"/>
              <c:showSerName val="0"/>
              <c:showPercent val="0"/>
              <c:showBubbleSize val="0"/>
            </c:dLbl>
            <c:dLbl>
              <c:idx val="9"/>
              <c:tx>
                <c:rich>
                  <a:bodyPr/>
                  <a:lstStyle/>
                  <a:p>
                    <a:r>
                      <a:t>189.58</a:t>
                    </a:r>
                  </a:p>
                </c:rich>
              </c:tx>
              <c:dLblPos val="t"/>
              <c:showLegendKey val="0"/>
              <c:showVal val="1"/>
              <c:showCatName val="0"/>
              <c:showSerName val="0"/>
              <c:showPercent val="0"/>
              <c:showBubbleSize val="0"/>
            </c:dLbl>
            <c:dLbl>
              <c:idx val="10"/>
              <c:tx>
                <c:rich>
                  <a:bodyPr/>
                  <a:lstStyle/>
                  <a:p>
                    <a:r>
                      <a:t>290.8</a:t>
                    </a:r>
                  </a:p>
                </c:rich>
              </c:tx>
              <c:dLblPos val="t"/>
              <c:showLegendKey val="0"/>
              <c:showVal val="1"/>
              <c:showCatName val="0"/>
              <c:showSerName val="0"/>
              <c:showPercent val="0"/>
              <c:showBubbleSize val="0"/>
            </c:dLbl>
            <c:dLbl>
              <c:idx val="11"/>
              <c:tx>
                <c:rich>
                  <a:bodyPr/>
                  <a:lstStyle/>
                  <a:p>
                    <a:r>
                      <a:t>101.27</a:t>
                    </a:r>
                  </a:p>
                </c:rich>
              </c:tx>
              <c:dLblPos val="t"/>
              <c:showLegendKey val="0"/>
              <c:showVal val="1"/>
              <c:showCatName val="0"/>
              <c:showSerName val="0"/>
              <c:showPercent val="0"/>
              <c:showBubbleSize val="0"/>
            </c:dLbl>
            <c:dLbl>
              <c:idx val="12"/>
              <c:tx>
                <c:rich>
                  <a:bodyPr/>
                  <a:lstStyle/>
                  <a:p>
                    <a:r>
                      <a:t>302.7</a:t>
                    </a:r>
                  </a:p>
                </c:rich>
              </c:tx>
              <c:dLblPos val="t"/>
              <c:showLegendKey val="0"/>
              <c:showVal val="1"/>
              <c:showCatName val="0"/>
              <c:showSerName val="0"/>
              <c:showPercent val="0"/>
              <c:showBubbleSize val="0"/>
            </c:dLbl>
            <c:dLbl>
              <c:idx val="13"/>
              <c:tx>
                <c:rich>
                  <a:bodyPr/>
                  <a:lstStyle/>
                  <a:p>
                    <a:r>
                      <a:t>188.44</a:t>
                    </a:r>
                  </a:p>
                </c:rich>
              </c:tx>
              <c:dLblPos val="t"/>
              <c:showLegendKey val="0"/>
              <c:showVal val="1"/>
              <c:showCatName val="0"/>
              <c:showSerName val="0"/>
              <c:showPercent val="0"/>
              <c:showBubbleSize val="0"/>
            </c:dLbl>
            <c:dLbl>
              <c:idx val="14"/>
              <c:tx>
                <c:rich>
                  <a:bodyPr/>
                  <a:lstStyle/>
                  <a:p>
                    <a:r>
                      <a:t>295.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Island Sport Sunscreen Adults Sport Spray Liquido 50 220Ml</c:v>
                </c:pt>
                <c:pt idx="3">
                  <c:v>Edgewell Hawaiian Tropic Ozono Sunscreen Adults Cosmetics Spray Liquido 50+ 180Ml</c:v>
                </c:pt>
                <c:pt idx="4">
                  <c:v>Edgewell Hawaiian Tropic Ozono Sunscreen Adults Cosmetics Liquido 50+ 90Ml</c:v>
                </c:pt>
                <c:pt idx="5">
                  <c:v>Edgewell Hawaiian Tropic Silk Hydration Sunscreen Adults Cosmetics Liquido 50 180Ml</c:v>
                </c:pt>
                <c:pt idx="6">
                  <c:v>Edgewell Hawaiian Tropic Island Sport Sunscreen Adults Sport Liquido 50 60Ml</c:v>
                </c:pt>
                <c:pt idx="7">
                  <c:v>Edgewell Hawaiian Tropic Silk Hydration Sunscreen Adults Cosmetics Spray Liquido 50+ 180Ml</c:v>
                </c:pt>
                <c:pt idx="8">
                  <c:v>Edgewell Hawaiian Tropic Tanning Sunscreen Adults Cosmetics Spray Liquido 15 - 19 220Ml</c:v>
                </c:pt>
                <c:pt idx="9">
                  <c:v>Edgewell Hawaiian Tropic Ozono Sunscreen Adults Cosmetics Liquido 50+ 120Ml</c:v>
                </c:pt>
                <c:pt idx="10">
                  <c:v>Edgewell Hawaiian Tropic Ozono Sunscreen Adults Cosmetics Liquido 50+ 180Ml</c:v>
                </c:pt>
                <c:pt idx="11">
                  <c:v>Edgewell Hawaiian Tropic Sheer Touch Sunscreen Adults Cosmetics Liquido 30 - 49 60Ml</c:v>
                </c:pt>
                <c:pt idx="12">
                  <c:v>Edgewell Hawaiian Tropic Other Sunscreen Adults Cosmetics Crema 50+ 240Ml</c:v>
                </c:pt>
                <c:pt idx="13">
                  <c:v>Edgewell Hawaiian Tropic Sheer Touch Sunscreen Adults Cosmetics Crema 50 120Ml</c:v>
                </c:pt>
                <c:pt idx="14">
                  <c:v>Edgewell Hawaiian Tropic Sheer Touch Sunscreen Adults Cosmetics Crema 30 - 49 240Ml</c:v>
                </c:pt>
              </c:strCache>
            </c:strRef>
          </c:cat>
          <c:val>
            <c:numRef>
              <c:f>Sheet1!$B$2:$B$16</c:f>
              <c:numCache>
                <c:formatCode>General</c:formatCode>
                <c:ptCount val="15"/>
                <c:pt idx="0">
                  <c:v>301.59</c:v>
                </c:pt>
                <c:pt idx="1">
                  <c:v>305.15</c:v>
                </c:pt>
                <c:pt idx="2">
                  <c:v>325.25</c:v>
                </c:pt>
                <c:pt idx="3">
                  <c:v>311.89</c:v>
                </c:pt>
                <c:pt idx="4">
                  <c:v>101.93</c:v>
                </c:pt>
                <c:pt idx="5">
                  <c:v>297.28</c:v>
                </c:pt>
                <c:pt idx="6">
                  <c:v>86.25</c:v>
                </c:pt>
                <c:pt idx="7">
                  <c:v>309.44</c:v>
                </c:pt>
                <c:pt idx="8">
                  <c:v>292.64</c:v>
                </c:pt>
                <c:pt idx="9">
                  <c:v>189.58</c:v>
                </c:pt>
                <c:pt idx="10">
                  <c:v>290.8</c:v>
                </c:pt>
                <c:pt idx="11">
                  <c:v>101.27</c:v>
                </c:pt>
                <c:pt idx="12">
                  <c:v>302.7</c:v>
                </c:pt>
                <c:pt idx="13">
                  <c:v>188.44</c:v>
                </c:pt>
                <c:pt idx="14">
                  <c:v>295.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84</a:t>
                    </a:r>
                  </a:p>
                </c:rich>
              </c:tx>
              <c:dLblPos val="t"/>
              <c:showLegendKey val="0"/>
              <c:showVal val="1"/>
              <c:showCatName val="0"/>
              <c:showSerName val="0"/>
              <c:showPercent val="0"/>
              <c:showBubbleSize val="0"/>
            </c:dLbl>
            <c:dLbl>
              <c:idx val="1"/>
              <c:tx>
                <c:rich>
                  <a:bodyPr/>
                  <a:lstStyle/>
                  <a:p>
                    <a:r>
                      <a:t>308.69</a:t>
                    </a:r>
                  </a:p>
                </c:rich>
              </c:tx>
              <c:dLblPos val="t"/>
              <c:showLegendKey val="0"/>
              <c:showVal val="1"/>
              <c:showCatName val="0"/>
              <c:showSerName val="0"/>
              <c:showPercent val="0"/>
              <c:showBubbleSize val="0"/>
            </c:dLbl>
            <c:dLbl>
              <c:idx val="2"/>
              <c:tx>
                <c:rich>
                  <a:bodyPr/>
                  <a:lstStyle/>
                  <a:p>
                    <a:r>
                      <a:t>334.03</a:t>
                    </a:r>
                  </a:p>
                </c:rich>
              </c:tx>
              <c:dLblPos val="t"/>
              <c:showLegendKey val="0"/>
              <c:showVal val="1"/>
              <c:showCatName val="0"/>
              <c:showSerName val="0"/>
              <c:showPercent val="0"/>
              <c:showBubbleSize val="0"/>
            </c:dLbl>
            <c:dLbl>
              <c:idx val="3"/>
              <c:tx>
                <c:rich>
                  <a:bodyPr/>
                  <a:lstStyle/>
                  <a:p>
                    <a:r>
                      <a:t>327.07</a:t>
                    </a:r>
                  </a:p>
                </c:rich>
              </c:tx>
              <c:dLblPos val="t"/>
              <c:showLegendKey val="0"/>
              <c:showVal val="1"/>
              <c:showCatName val="0"/>
              <c:showSerName val="0"/>
              <c:showPercent val="0"/>
              <c:showBubbleSize val="0"/>
            </c:dLbl>
            <c:dLbl>
              <c:idx val="4"/>
              <c:tx>
                <c:rich>
                  <a:bodyPr/>
                  <a:lstStyle/>
                  <a:p>
                    <a:r>
                      <a:t>102.57</a:t>
                    </a:r>
                  </a:p>
                </c:rich>
              </c:tx>
              <c:dLblPos val="t"/>
              <c:showLegendKey val="0"/>
              <c:showVal val="1"/>
              <c:showCatName val="0"/>
              <c:showSerName val="0"/>
              <c:showPercent val="0"/>
              <c:showBubbleSize val="0"/>
            </c:dLbl>
            <c:dLbl>
              <c:idx val="5"/>
              <c:tx>
                <c:rich>
                  <a:bodyPr/>
                  <a:lstStyle/>
                  <a:p>
                    <a:r>
                      <a:t>311.77</a:t>
                    </a:r>
                  </a:p>
                </c:rich>
              </c:tx>
              <c:dLblPos val="t"/>
              <c:showLegendKey val="0"/>
              <c:showVal val="1"/>
              <c:showCatName val="0"/>
              <c:showSerName val="0"/>
              <c:showPercent val="0"/>
              <c:showBubbleSize val="0"/>
            </c:dLbl>
            <c:dLbl>
              <c:idx val="6"/>
              <c:tx>
                <c:rich>
                  <a:bodyPr/>
                  <a:lstStyle/>
                  <a:p>
                    <a:r>
                      <a:t>88.11</a:t>
                    </a:r>
                  </a:p>
                </c:rich>
              </c:tx>
              <c:dLblPos val="t"/>
              <c:showLegendKey val="0"/>
              <c:showVal val="1"/>
              <c:showCatName val="0"/>
              <c:showSerName val="0"/>
              <c:showPercent val="0"/>
              <c:showBubbleSize val="0"/>
            </c:dLbl>
            <c:dLbl>
              <c:idx val="7"/>
              <c:tx>
                <c:rich>
                  <a:bodyPr/>
                  <a:lstStyle/>
                  <a:p>
                    <a:r>
                      <a:t>296.15</a:t>
                    </a:r>
                  </a:p>
                </c:rich>
              </c:tx>
              <c:dLblPos val="t"/>
              <c:showLegendKey val="0"/>
              <c:showVal val="1"/>
              <c:showCatName val="0"/>
              <c:showSerName val="0"/>
              <c:showPercent val="0"/>
              <c:showBubbleSize val="0"/>
            </c:dLbl>
            <c:dLbl>
              <c:idx val="8"/>
              <c:tx>
                <c:rich>
                  <a:bodyPr/>
                  <a:lstStyle/>
                  <a:p>
                    <a:r>
                      <a:t>190.97</a:t>
                    </a:r>
                  </a:p>
                </c:rich>
              </c:tx>
              <c:dLblPos val="t"/>
              <c:showLegendKey val="0"/>
              <c:showVal val="1"/>
              <c:showCatName val="0"/>
              <c:showSerName val="0"/>
              <c:showPercent val="0"/>
              <c:showBubbleSize val="0"/>
            </c:dLbl>
            <c:dLbl>
              <c:idx val="9"/>
              <c:tx>
                <c:rich>
                  <a:bodyPr/>
                  <a:lstStyle/>
                  <a:p>
                    <a:r>
                      <a:t>326.11</a:t>
                    </a:r>
                  </a:p>
                </c:rich>
              </c:tx>
              <c:dLblPos val="t"/>
              <c:showLegendKey val="0"/>
              <c:showVal val="1"/>
              <c:showCatName val="0"/>
              <c:showSerName val="0"/>
              <c:showPercent val="0"/>
              <c:showBubbleSize val="0"/>
            </c:dLbl>
            <c:dLbl>
              <c:idx val="10"/>
              <c:tx>
                <c:rich>
                  <a:bodyPr/>
                  <a:lstStyle/>
                  <a:p>
                    <a:r>
                      <a:t>299.54</a:t>
                    </a:r>
                  </a:p>
                </c:rich>
              </c:tx>
              <c:dLblPos val="t"/>
              <c:showLegendKey val="0"/>
              <c:showVal val="1"/>
              <c:showCatName val="0"/>
              <c:showSerName val="0"/>
              <c:showPercent val="0"/>
              <c:showBubbleSize val="0"/>
            </c:dLbl>
            <c:dLbl>
              <c:idx val="11"/>
              <c:tx>
                <c:rich>
                  <a:bodyPr/>
                  <a:lstStyle/>
                  <a:p>
                    <a:r>
                      <a:t>99.41</a:t>
                    </a:r>
                  </a:p>
                </c:rich>
              </c:tx>
              <c:dLblPos val="t"/>
              <c:showLegendKey val="0"/>
              <c:showVal val="1"/>
              <c:showCatName val="0"/>
              <c:showSerName val="0"/>
              <c:showPercent val="0"/>
              <c:showBubbleSize val="0"/>
            </c:dLbl>
            <c:dLbl>
              <c:idx val="12"/>
              <c:tx>
                <c:rich>
                  <a:bodyPr/>
                  <a:lstStyle/>
                  <a:p>
                    <a:r>
                      <a:t>305.74</a:t>
                    </a:r>
                  </a:p>
                </c:rich>
              </c:tx>
              <c:dLblPos val="t"/>
              <c:showLegendKey val="0"/>
              <c:showVal val="1"/>
              <c:showCatName val="0"/>
              <c:showSerName val="0"/>
              <c:showPercent val="0"/>
              <c:showBubbleSize val="0"/>
            </c:dLbl>
            <c:dLbl>
              <c:idx val="13"/>
              <c:tx>
                <c:rich>
                  <a:bodyPr/>
                  <a:lstStyle/>
                  <a:p>
                    <a:r>
                      <a:t>189.32</a:t>
                    </a:r>
                  </a:p>
                </c:rich>
              </c:tx>
              <c:dLblPos val="t"/>
              <c:showLegendKey val="0"/>
              <c:showVal val="1"/>
              <c:showCatName val="0"/>
              <c:showSerName val="0"/>
              <c:showPercent val="0"/>
              <c:showBubbleSize val="0"/>
            </c:dLbl>
            <c:dLbl>
              <c:idx val="14"/>
              <c:tx>
                <c:rich>
                  <a:bodyPr/>
                  <a:lstStyle/>
                  <a:p>
                    <a:r>
                      <a:t>301.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Island Sport Sunscreen Adults Sport Spray Liquido 50 220Ml</c:v>
                </c:pt>
                <c:pt idx="3">
                  <c:v>Edgewell Hawaiian Tropic Ozono Sunscreen Adults Cosmetics Spray Liquido 50+ 180Ml</c:v>
                </c:pt>
                <c:pt idx="4">
                  <c:v>Edgewell Hawaiian Tropic Ozono Sunscreen Adults Cosmetics Liquido 50+ 90Ml</c:v>
                </c:pt>
                <c:pt idx="5">
                  <c:v>Edgewell Hawaiian Tropic Silk Hydration Sunscreen Adults Cosmetics Liquido 50 180Ml</c:v>
                </c:pt>
                <c:pt idx="6">
                  <c:v>Edgewell Hawaiian Tropic Island Sport Sunscreen Adults Sport Liquido 50 60Ml</c:v>
                </c:pt>
                <c:pt idx="7">
                  <c:v>Edgewell Hawaiian Tropic Tanning Sunscreen Adults Cosmetics Spray Liquido 15 - 19 220Ml</c:v>
                </c:pt>
                <c:pt idx="8">
                  <c:v>Edgewell Hawaiian Tropic Ozono Sunscreen Adults Cosmetics Liquido 50+ 120Ml</c:v>
                </c:pt>
                <c:pt idx="9">
                  <c:v>Edgewell Hawaiian Tropic Silk Hydration Sunscreen Adults Cosmetics Spray Liquido 50+ 180Ml</c:v>
                </c:pt>
                <c:pt idx="10">
                  <c:v>Edgewell Hawaiian Tropic Ozono Sunscreen Adults Cosmetics Liquido 50+ 180Ml</c:v>
                </c:pt>
                <c:pt idx="11">
                  <c:v>Edgewell Hawaiian Tropic Sheer Touch Sunscreen Adults Cosmetics Liquido 30 - 49 60Ml</c:v>
                </c:pt>
                <c:pt idx="12">
                  <c:v>Edgewell Hawaiian Tropic Other Sunscreen Adults Cosmetics Crema 50+ 240Ml</c:v>
                </c:pt>
                <c:pt idx="13">
                  <c:v>Edgewell Hawaiian Tropic Sheer Touch Sunscreen Adults Cosmetics Crema 50 120Ml</c:v>
                </c:pt>
                <c:pt idx="14">
                  <c:v>Edgewell Hawaiian Tropic Sheer Touch Sunscreen Adults Cosmetics Crema 30 - 49 240Ml</c:v>
                </c:pt>
              </c:strCache>
            </c:strRef>
          </c:cat>
          <c:val>
            <c:numRef>
              <c:f>Sheet1!$B$2:$B$16</c:f>
              <c:numCache>
                <c:formatCode>General</c:formatCode>
                <c:ptCount val="15"/>
                <c:pt idx="0">
                  <c:v>306.84</c:v>
                </c:pt>
                <c:pt idx="1">
                  <c:v>308.69</c:v>
                </c:pt>
                <c:pt idx="2">
                  <c:v>334.03</c:v>
                </c:pt>
                <c:pt idx="3">
                  <c:v>327.07</c:v>
                </c:pt>
                <c:pt idx="4">
                  <c:v>102.57</c:v>
                </c:pt>
                <c:pt idx="5">
                  <c:v>311.77</c:v>
                </c:pt>
                <c:pt idx="6">
                  <c:v>88.11</c:v>
                </c:pt>
                <c:pt idx="7">
                  <c:v>296.15</c:v>
                </c:pt>
                <c:pt idx="8">
                  <c:v>190.97</c:v>
                </c:pt>
                <c:pt idx="9">
                  <c:v>326.11</c:v>
                </c:pt>
                <c:pt idx="10">
                  <c:v>299.54</c:v>
                </c:pt>
                <c:pt idx="11">
                  <c:v>99.41</c:v>
                </c:pt>
                <c:pt idx="12">
                  <c:v>305.74</c:v>
                </c:pt>
                <c:pt idx="13">
                  <c:v>189.32</c:v>
                </c:pt>
                <c:pt idx="14">
                  <c:v>301.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8.53</a:t>
                    </a:r>
                  </a:p>
                </c:rich>
              </c:tx>
              <c:dLblPos val="t"/>
              <c:showLegendKey val="0"/>
              <c:showVal val="1"/>
              <c:showCatName val="0"/>
              <c:showSerName val="0"/>
              <c:showPercent val="0"/>
              <c:showBubbleSize val="0"/>
            </c:dLbl>
            <c:dLbl>
              <c:idx val="1"/>
              <c:tx>
                <c:rich>
                  <a:bodyPr/>
                  <a:lstStyle/>
                  <a:p>
                    <a:r>
                      <a:t>347.12</a:t>
                    </a:r>
                  </a:p>
                </c:rich>
              </c:tx>
              <c:dLblPos val="t"/>
              <c:showLegendKey val="0"/>
              <c:showVal val="1"/>
              <c:showCatName val="0"/>
              <c:showSerName val="0"/>
              <c:showPercent val="0"/>
              <c:showBubbleSize val="0"/>
            </c:dLbl>
            <c:dLbl>
              <c:idx val="2"/>
              <c:tx>
                <c:rich>
                  <a:bodyPr/>
                  <a:lstStyle/>
                  <a:p>
                    <a:r>
                      <a:t>330.0</a:t>
                    </a:r>
                  </a:p>
                </c:rich>
              </c:tx>
              <c:dLblPos val="t"/>
              <c:showLegendKey val="0"/>
              <c:showVal val="1"/>
              <c:showCatName val="0"/>
              <c:showSerName val="0"/>
              <c:showPercent val="0"/>
              <c:showBubbleSize val="0"/>
            </c:dLbl>
            <c:dLbl>
              <c:idx val="3"/>
              <c:tx>
                <c:rich>
                  <a:bodyPr/>
                  <a:lstStyle/>
                  <a:p>
                    <a:r>
                      <a:t>325.31</a:t>
                    </a:r>
                  </a:p>
                </c:rich>
              </c:tx>
              <c:dLblPos val="t"/>
              <c:showLegendKey val="0"/>
              <c:showVal val="1"/>
              <c:showCatName val="0"/>
              <c:showSerName val="0"/>
              <c:showPercent val="0"/>
              <c:showBubbleSize val="0"/>
            </c:dLbl>
            <c:dLbl>
              <c:idx val="4"/>
              <c:tx>
                <c:rich>
                  <a:bodyPr/>
                  <a:lstStyle/>
                  <a:p>
                    <a:r>
                      <a:t>313.71</a:t>
                    </a:r>
                  </a:p>
                </c:rich>
              </c:tx>
              <c:dLblPos val="t"/>
              <c:showLegendKey val="0"/>
              <c:showVal val="1"/>
              <c:showCatName val="0"/>
              <c:showSerName val="0"/>
              <c:showPercent val="0"/>
              <c:showBubbleSize val="0"/>
            </c:dLbl>
            <c:dLbl>
              <c:idx val="5"/>
              <c:tx>
                <c:rich>
                  <a:bodyPr/>
                  <a:lstStyle/>
                  <a:p>
                    <a:r>
                      <a:t>97.58</a:t>
                    </a:r>
                  </a:p>
                </c:rich>
              </c:tx>
              <c:dLblPos val="t"/>
              <c:showLegendKey val="0"/>
              <c:showVal val="1"/>
              <c:showCatName val="0"/>
              <c:showSerName val="0"/>
              <c:showPercent val="0"/>
              <c:showBubbleSize val="0"/>
            </c:dLbl>
            <c:dLbl>
              <c:idx val="6"/>
              <c:tx>
                <c:rich>
                  <a:bodyPr/>
                  <a:lstStyle/>
                  <a:p>
                    <a:r>
                      <a:t>80.72</a:t>
                    </a:r>
                  </a:p>
                </c:rich>
              </c:tx>
              <c:dLblPos val="t"/>
              <c:showLegendKey val="0"/>
              <c:showVal val="1"/>
              <c:showCatName val="0"/>
              <c:showSerName val="0"/>
              <c:showPercent val="0"/>
              <c:showBubbleSize val="0"/>
            </c:dLbl>
            <c:dLbl>
              <c:idx val="7"/>
              <c:tx>
                <c:rich>
                  <a:bodyPr/>
                  <a:lstStyle/>
                  <a:p>
                    <a:r>
                      <a:t>397.68</a:t>
                    </a:r>
                  </a:p>
                </c:rich>
              </c:tx>
              <c:dLblPos val="t"/>
              <c:showLegendKey val="0"/>
              <c:showVal val="1"/>
              <c:showCatName val="0"/>
              <c:showSerName val="0"/>
              <c:showPercent val="0"/>
              <c:showBubbleSize val="0"/>
            </c:dLbl>
            <c:dLbl>
              <c:idx val="8"/>
              <c:tx>
                <c:rich>
                  <a:bodyPr/>
                  <a:lstStyle/>
                  <a:p>
                    <a:r>
                      <a:t>252.72</a:t>
                    </a:r>
                  </a:p>
                </c:rich>
              </c:tx>
              <c:dLblPos val="t"/>
              <c:showLegendKey val="0"/>
              <c:showVal val="1"/>
              <c:showCatName val="0"/>
              <c:showSerName val="0"/>
              <c:showPercent val="0"/>
              <c:showBubbleSize val="0"/>
            </c:dLbl>
            <c:dLbl>
              <c:idx val="9"/>
              <c:tx>
                <c:rich>
                  <a:bodyPr/>
                  <a:lstStyle/>
                  <a:p>
                    <a:r>
                      <a:t>273.42</a:t>
                    </a:r>
                  </a:p>
                </c:rich>
              </c:tx>
              <c:dLblPos val="t"/>
              <c:showLegendKey val="0"/>
              <c:showVal val="1"/>
              <c:showCatName val="0"/>
              <c:showSerName val="0"/>
              <c:showPercent val="0"/>
              <c:showBubbleSize val="0"/>
            </c:dLbl>
            <c:dLbl>
              <c:idx val="10"/>
              <c:tx>
                <c:rich>
                  <a:bodyPr/>
                  <a:lstStyle/>
                  <a:p>
                    <a:r>
                      <a:t>272.33</a:t>
                    </a:r>
                  </a:p>
                </c:rich>
              </c:tx>
              <c:dLblPos val="t"/>
              <c:showLegendKey val="0"/>
              <c:showVal val="1"/>
              <c:showCatName val="0"/>
              <c:showSerName val="0"/>
              <c:showPercent val="0"/>
              <c:showBubbleSize val="0"/>
            </c:dLbl>
            <c:dLbl>
              <c:idx val="11"/>
              <c:tx>
                <c:rich>
                  <a:bodyPr/>
                  <a:lstStyle/>
                  <a:p>
                    <a:r>
                      <a:t>310.55</a:t>
                    </a:r>
                  </a:p>
                </c:rich>
              </c:tx>
              <c:dLblPos val="t"/>
              <c:showLegendKey val="0"/>
              <c:showVal val="1"/>
              <c:showCatName val="0"/>
              <c:showSerName val="0"/>
              <c:showPercent val="0"/>
              <c:showBubbleSize val="0"/>
            </c:dLbl>
            <c:dLbl>
              <c:idx val="12"/>
              <c:tx>
                <c:rich>
                  <a:bodyPr/>
                  <a:lstStyle/>
                  <a:p>
                    <a:r>
                      <a:t>129.57</a:t>
                    </a:r>
                  </a:p>
                </c:rich>
              </c:tx>
              <c:dLblPos val="t"/>
              <c:showLegendKey val="0"/>
              <c:showVal val="1"/>
              <c:showCatName val="0"/>
              <c:showSerName val="0"/>
              <c:showPercent val="0"/>
              <c:showBubbleSize val="0"/>
            </c:dLbl>
            <c:dLbl>
              <c:idx val="13"/>
              <c:tx>
                <c:rich>
                  <a:bodyPr/>
                  <a:lstStyle/>
                  <a:p>
                    <a:r>
                      <a:t>305.32</a:t>
                    </a:r>
                  </a:p>
                </c:rich>
              </c:tx>
              <c:dLblPos val="t"/>
              <c:showLegendKey val="0"/>
              <c:showVal val="1"/>
              <c:showCatName val="0"/>
              <c:showSerName val="0"/>
              <c:showPercent val="0"/>
              <c:showBubbleSize val="0"/>
            </c:dLbl>
            <c:dLbl>
              <c:idx val="14"/>
              <c:tx>
                <c:rich>
                  <a:bodyPr/>
                  <a:lstStyle/>
                  <a:p>
                    <a:r>
                      <a:t>18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Spray Liquido 50 220Ml</c:v>
                </c:pt>
                <c:pt idx="2">
                  <c:v>Edgewell Hawaiian Tropic Island Sport Sunscreen Adults Sport Liquido 50 240Ml</c:v>
                </c:pt>
                <c:pt idx="3">
                  <c:v>Edgewell Hawaiian Tropic Ozono Sunscreen Adults Cosmetics Spray Liquido 50+ 180Ml</c:v>
                </c:pt>
                <c:pt idx="4">
                  <c:v>Edgewell Hawaiian Tropic Tanning Sunscreen Adults Cosmetics Spray Liquido 15 - 19 220Ml</c:v>
                </c:pt>
                <c:pt idx="5">
                  <c:v>Edgewell Hawaiian Tropic Sheer Touch Sunscreen Adults Cosmetics Liquido 30 - 49 60Ml</c:v>
                </c:pt>
                <c:pt idx="6">
                  <c:v>Edgewell Hawaiian Tropic Island Sport Sunscreen Adults Sport Liquido 50 60Ml</c:v>
                </c:pt>
                <c:pt idx="7">
                  <c:v>Edgewell Hawaiian Tropic Silk Hydration Sunscreen Adults Cosmetics Liquido 50 180Ml</c:v>
                </c:pt>
                <c:pt idx="8">
                  <c:v>Edgewell Hawaiian Tropic Carrot Sunscreen Adults Cosmetics Spray Liquido 30 - 49 177Ml</c:v>
                </c:pt>
                <c:pt idx="9">
                  <c:v>Edgewell Hawaiian Tropic Silk Hydration Sunscreen Adults Cosmetics Spray Liquido 50+ 180Ml</c:v>
                </c:pt>
                <c:pt idx="10">
                  <c:v>Edgewell Hawaiian Tropic Silk Hydration Sunscreen Adults Cosmetics Spray Liquido 50 150Ml</c:v>
                </c:pt>
                <c:pt idx="11">
                  <c:v>Edgewell Hawaiian Tropic Ozono Sunscreen Adults Cosmetics Liquido 50+ 180Ml</c:v>
                </c:pt>
                <c:pt idx="12">
                  <c:v>Edgewell Hawaiian Tropic Ozono Sunscreen Adults Cosmetics Liquido 50+ 90Ml</c:v>
                </c:pt>
                <c:pt idx="13">
                  <c:v>Edgewell Hawaiian Tropic Other Sunscreen Adults Cosmetics Crema 50+ 240Ml</c:v>
                </c:pt>
                <c:pt idx="14">
                  <c:v>Edgewell Hawaiian Tropic Sheer Touch Sunscreen Adults Cosmetics Crema 50 120Ml</c:v>
                </c:pt>
              </c:strCache>
            </c:strRef>
          </c:cat>
          <c:val>
            <c:numRef>
              <c:f>Sheet1!$B$2:$B$16</c:f>
              <c:numCache>
                <c:formatCode>General</c:formatCode>
                <c:ptCount val="15"/>
                <c:pt idx="0">
                  <c:v>318.53</c:v>
                </c:pt>
                <c:pt idx="1">
                  <c:v>347.12</c:v>
                </c:pt>
                <c:pt idx="2">
                  <c:v>330.0</c:v>
                </c:pt>
                <c:pt idx="3">
                  <c:v>325.31</c:v>
                </c:pt>
                <c:pt idx="4">
                  <c:v>313.71</c:v>
                </c:pt>
                <c:pt idx="5">
                  <c:v>97.58</c:v>
                </c:pt>
                <c:pt idx="6">
                  <c:v>80.72</c:v>
                </c:pt>
                <c:pt idx="7">
                  <c:v>397.68</c:v>
                </c:pt>
                <c:pt idx="8">
                  <c:v>252.72</c:v>
                </c:pt>
                <c:pt idx="9">
                  <c:v>273.42</c:v>
                </c:pt>
                <c:pt idx="10">
                  <c:v>272.33</c:v>
                </c:pt>
                <c:pt idx="11">
                  <c:v>310.55</c:v>
                </c:pt>
                <c:pt idx="12">
                  <c:v>129.57</c:v>
                </c:pt>
                <c:pt idx="13">
                  <c:v>305.32</c:v>
                </c:pt>
                <c:pt idx="14">
                  <c:v>18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58.0</a:t>
                    </a:r>
                  </a:p>
                </c:rich>
              </c:tx>
              <c:dLblPos val="t"/>
              <c:showLegendKey val="0"/>
              <c:showVal val="1"/>
              <c:showCatName val="0"/>
              <c:showSerName val="0"/>
              <c:showPercent val="0"/>
              <c:showBubbleSize val="0"/>
            </c:dLbl>
            <c:dLbl>
              <c:idx val="2"/>
              <c:tx>
                <c:rich>
                  <a:bodyPr/>
                  <a:lstStyle/>
                  <a:p>
                    <a:r>
                      <a:t>70.09</a:t>
                    </a:r>
                  </a:p>
                </c:rich>
              </c:tx>
              <c:dLblPos val="t"/>
              <c:showLegendKey val="0"/>
              <c:showVal val="1"/>
              <c:showCatName val="0"/>
              <c:showSerName val="0"/>
              <c:showPercent val="0"/>
              <c:showBubbleSize val="0"/>
            </c:dLbl>
            <c:dLbl>
              <c:idx val="3"/>
              <c:tx>
                <c:rich>
                  <a:bodyPr/>
                  <a:lstStyle/>
                  <a:p>
                    <a:r>
                      <a:t>220.0</a:t>
                    </a:r>
                  </a:p>
                </c:rich>
              </c:tx>
              <c:dLblPos val="t"/>
              <c:showLegendKey val="0"/>
              <c:showVal val="1"/>
              <c:showCatName val="0"/>
              <c:showSerName val="0"/>
              <c:showPercent val="0"/>
              <c:showBubbleSize val="0"/>
            </c:dLbl>
            <c:dLbl>
              <c:idx val="4"/>
              <c:tx>
                <c:rich>
                  <a:bodyPr/>
                  <a:lstStyle/>
                  <a:p>
                    <a:r>
                      <a:t>133.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Other Sunscreen Adults Cosmetics Crema 50+ 240Ml</c:v>
                </c:pt>
                <c:pt idx="1">
                  <c:v>Edgewell Hawaiian Tropic Baby Sunscreen Baby Cosmetics Crema 50+ 240Ml</c:v>
                </c:pt>
                <c:pt idx="2">
                  <c:v>Edgewell Hawaiian Tropic Island Sport Sunscreen Adults Sport Liquido 50 60Ml</c:v>
                </c:pt>
                <c:pt idx="3">
                  <c:v>Edgewell Hawaiian Tropic Island Sport Sunscreen Adults Sport Spray Liquido 50 220Ml</c:v>
                </c:pt>
                <c:pt idx="4">
                  <c:v>Edgewell Hawaiian Tropic Sheer Touch Sunscreen Adults Cosmetics Liquido 30 - 49 60Ml</c:v>
                </c:pt>
              </c:strCache>
            </c:strRef>
          </c:cat>
          <c:val>
            <c:numRef>
              <c:f>Sheet1!$B$2:$B$6</c:f>
              <c:numCache>
                <c:formatCode>General</c:formatCode>
                <c:ptCount val="5"/>
                <c:pt idx="0">
                  <c:v>240.0</c:v>
                </c:pt>
                <c:pt idx="1">
                  <c:v>258.0</c:v>
                </c:pt>
                <c:pt idx="2">
                  <c:v>70.09</c:v>
                </c:pt>
                <c:pt idx="3">
                  <c:v>220.0</c:v>
                </c:pt>
                <c:pt idx="4">
                  <c:v>13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05.29</a:t>
                    </a:r>
                  </a:p>
                </c:rich>
              </c:tx>
              <c:dLblPos val="t"/>
              <c:showLegendKey val="0"/>
              <c:showVal val="1"/>
              <c:showCatName val="0"/>
              <c:showSerName val="0"/>
              <c:showPercent val="0"/>
              <c:showBubbleSize val="0"/>
            </c:dLbl>
            <c:dLbl>
              <c:idx val="2"/>
              <c:tx>
                <c:rich>
                  <a:bodyPr/>
                  <a:lstStyle/>
                  <a:p>
                    <a:r>
                      <a:t>101.15</a:t>
                    </a:r>
                  </a:p>
                </c:rich>
              </c:tx>
              <c:dLblPos val="t"/>
              <c:showLegendKey val="0"/>
              <c:showVal val="1"/>
              <c:showCatName val="0"/>
              <c:showSerName val="0"/>
              <c:showPercent val="0"/>
              <c:showBubbleSize val="0"/>
            </c:dLbl>
            <c:dLbl>
              <c:idx val="3"/>
              <c:tx>
                <c:rich>
                  <a:bodyPr/>
                  <a:lstStyle/>
                  <a:p>
                    <a:r>
                      <a:t>330.69</a:t>
                    </a:r>
                  </a:p>
                </c:rich>
              </c:tx>
              <c:dLblPos val="t"/>
              <c:showLegendKey val="0"/>
              <c:showVal val="1"/>
              <c:showCatName val="0"/>
              <c:showSerName val="0"/>
              <c:showPercent val="0"/>
              <c:showBubbleSize val="0"/>
            </c:dLbl>
            <c:dLbl>
              <c:idx val="4"/>
              <c:tx>
                <c:rich>
                  <a:bodyPr/>
                  <a:lstStyle/>
                  <a:p>
                    <a:r>
                      <a:t>324.32</a:t>
                    </a:r>
                  </a:p>
                </c:rich>
              </c:tx>
              <c:dLblPos val="t"/>
              <c:showLegendKey val="0"/>
              <c:showVal val="1"/>
              <c:showCatName val="0"/>
              <c:showSerName val="0"/>
              <c:showPercent val="0"/>
              <c:showBubbleSize val="0"/>
            </c:dLbl>
            <c:dLbl>
              <c:idx val="5"/>
              <c:tx>
                <c:rich>
                  <a:bodyPr/>
                  <a:lstStyle/>
                  <a:p>
                    <a:r>
                      <a:t>301.91</a:t>
                    </a:r>
                  </a:p>
                </c:rich>
              </c:tx>
              <c:dLblPos val="t"/>
              <c:showLegendKey val="0"/>
              <c:showVal val="1"/>
              <c:showCatName val="0"/>
              <c:showSerName val="0"/>
              <c:showPercent val="0"/>
              <c:showBubbleSize val="0"/>
            </c:dLbl>
            <c:dLbl>
              <c:idx val="6"/>
              <c:tx>
                <c:rich>
                  <a:bodyPr/>
                  <a:lstStyle/>
                  <a:p>
                    <a:r>
                      <a:t>194.2</a:t>
                    </a:r>
                  </a:p>
                </c:rich>
              </c:tx>
              <c:dLblPos val="t"/>
              <c:showLegendKey val="0"/>
              <c:showVal val="1"/>
              <c:showCatName val="0"/>
              <c:showSerName val="0"/>
              <c:showPercent val="0"/>
              <c:showBubbleSize val="0"/>
            </c:dLbl>
            <c:dLbl>
              <c:idx val="7"/>
              <c:tx>
                <c:rich>
                  <a:bodyPr/>
                  <a:lstStyle/>
                  <a:p>
                    <a:r>
                      <a:t>92.14</a:t>
                    </a:r>
                  </a:p>
                </c:rich>
              </c:tx>
              <c:dLblPos val="t"/>
              <c:showLegendKey val="0"/>
              <c:showVal val="1"/>
              <c:showCatName val="0"/>
              <c:showSerName val="0"/>
              <c:showPercent val="0"/>
              <c:showBubbleSize val="0"/>
            </c:dLbl>
            <c:dLbl>
              <c:idx val="8"/>
              <c:tx>
                <c:rich>
                  <a:bodyPr/>
                  <a:lstStyle/>
                  <a:p>
                    <a:r>
                      <a:t>290.38</a:t>
                    </a:r>
                  </a:p>
                </c:rich>
              </c:tx>
              <c:dLblPos val="t"/>
              <c:showLegendKey val="0"/>
              <c:showVal val="1"/>
              <c:showCatName val="0"/>
              <c:showSerName val="0"/>
              <c:showPercent val="0"/>
              <c:showBubbleSize val="0"/>
            </c:dLbl>
            <c:dLbl>
              <c:idx val="9"/>
              <c:tx>
                <c:rich>
                  <a:bodyPr/>
                  <a:lstStyle/>
                  <a:p>
                    <a:r>
                      <a:t>339.07</a:t>
                    </a:r>
                  </a:p>
                </c:rich>
              </c:tx>
              <c:dLblPos val="t"/>
              <c:showLegendKey val="0"/>
              <c:showVal val="1"/>
              <c:showCatName val="0"/>
              <c:showSerName val="0"/>
              <c:showPercent val="0"/>
              <c:showBubbleSize val="0"/>
            </c:dLbl>
            <c:dLbl>
              <c:idx val="10"/>
              <c:tx>
                <c:rich>
                  <a:bodyPr/>
                  <a:lstStyle/>
                  <a:p>
                    <a:r>
                      <a:t>298.17</a:t>
                    </a:r>
                  </a:p>
                </c:rich>
              </c:tx>
              <c:dLblPos val="t"/>
              <c:showLegendKey val="0"/>
              <c:showVal val="1"/>
              <c:showCatName val="0"/>
              <c:showSerName val="0"/>
              <c:showPercent val="0"/>
              <c:showBubbleSize val="0"/>
            </c:dLbl>
            <c:dLbl>
              <c:idx val="11"/>
              <c:tx>
                <c:rich>
                  <a:bodyPr/>
                  <a:lstStyle/>
                  <a:p>
                    <a:r>
                      <a:t>99.46</a:t>
                    </a:r>
                  </a:p>
                </c:rich>
              </c:tx>
              <c:dLblPos val="t"/>
              <c:showLegendKey val="0"/>
              <c:showVal val="1"/>
              <c:showCatName val="0"/>
              <c:showSerName val="0"/>
              <c:showPercent val="0"/>
              <c:showBubbleSize val="0"/>
            </c:dLbl>
            <c:dLbl>
              <c:idx val="12"/>
              <c:tx>
                <c:rich>
                  <a:bodyPr/>
                  <a:lstStyle/>
                  <a:p>
                    <a:r>
                      <a:t>312.14</a:t>
                    </a:r>
                  </a:p>
                </c:rich>
              </c:tx>
              <c:dLblPos val="t"/>
              <c:showLegendKey val="0"/>
              <c:showVal val="1"/>
              <c:showCatName val="0"/>
              <c:showSerName val="0"/>
              <c:showPercent val="0"/>
              <c:showBubbleSize val="0"/>
            </c:dLbl>
            <c:dLbl>
              <c:idx val="13"/>
              <c:tx>
                <c:rich>
                  <a:bodyPr/>
                  <a:lstStyle/>
                  <a:p>
                    <a:r>
                      <a:t>189.54</a:t>
                    </a:r>
                  </a:p>
                </c:rich>
              </c:tx>
              <c:dLblPos val="t"/>
              <c:showLegendKey val="0"/>
              <c:showVal val="1"/>
              <c:showCatName val="0"/>
              <c:showSerName val="0"/>
              <c:showPercent val="0"/>
              <c:showBubbleSize val="0"/>
            </c:dLbl>
            <c:dLbl>
              <c:idx val="14"/>
              <c:tx>
                <c:rich>
                  <a:bodyPr/>
                  <a:lstStyle/>
                  <a:p>
                    <a:r>
                      <a:t>300.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Ozono Sunscreen Adults Cosmetics Spray Liquido 50+ 180Ml</c:v>
                </c:pt>
                <c:pt idx="4">
                  <c:v>Edgewell Hawaiian Tropic Island Sport Sunscreen Adults Sport Spray Liquido 50 220Ml</c:v>
                </c:pt>
                <c:pt idx="5">
                  <c:v>Edgewell Hawaiian Tropic Silk Hydration Sunscreen Adults Cosmetics Liquido 50 180Ml</c:v>
                </c:pt>
                <c:pt idx="6">
                  <c:v>Edgewell Hawaiian Tropic Ozono Sunscreen Adults Cosmetics Liquido 50+ 120Ml</c:v>
                </c:pt>
                <c:pt idx="7">
                  <c:v>Edgewell Hawaiian Tropic Island Sport Sunscreen Adults Sport Liquido 50 60Ml</c:v>
                </c:pt>
                <c:pt idx="8">
                  <c:v>Edgewell Hawaiian Tropic Tanning Sunscreen Adults Cosmetics Spray Liquido 15 - 19 220Ml</c:v>
                </c:pt>
                <c:pt idx="9">
                  <c:v>Edgewell Hawaiian Tropic Silk Hydration Sunscreen Adults Cosmetics Spray Liquido 50+ 180Ml</c:v>
                </c:pt>
                <c:pt idx="10">
                  <c:v>Edgewell Hawaiian Tropic Ozono Sunscreen Adults Cosmetics Liquido 50+ 180Ml</c:v>
                </c:pt>
                <c:pt idx="11">
                  <c:v>Edgewell Hawaiian Tropic Sheer Touch Sunscreen Adults Cosmetics Liquido 30 - 49 60Ml</c:v>
                </c:pt>
                <c:pt idx="12">
                  <c:v>Edgewell Hawaiian Tropic Other Sunscreen Adults Cosmetics Crema 50+ 240Ml</c:v>
                </c:pt>
                <c:pt idx="13">
                  <c:v>Edgewell Hawaiian Tropic Sheer Touch Sunscreen Adults Cosmetics Crema 50 120Ml</c:v>
                </c:pt>
                <c:pt idx="14">
                  <c:v>Edgewell Hawaiian Tropic Sheer Touch Sunscreen Adults Cosmetics Crema 30 - 49 240Ml</c:v>
                </c:pt>
              </c:strCache>
            </c:strRef>
          </c:cat>
          <c:val>
            <c:numRef>
              <c:f>Sheet1!$B$2:$B$16</c:f>
              <c:numCache>
                <c:formatCode>General</c:formatCode>
                <c:ptCount val="15"/>
                <c:pt idx="0">
                  <c:v>305.1</c:v>
                </c:pt>
                <c:pt idx="1">
                  <c:v>305.29</c:v>
                </c:pt>
                <c:pt idx="2">
                  <c:v>101.15</c:v>
                </c:pt>
                <c:pt idx="3">
                  <c:v>330.69</c:v>
                </c:pt>
                <c:pt idx="4">
                  <c:v>324.32</c:v>
                </c:pt>
                <c:pt idx="5">
                  <c:v>301.91</c:v>
                </c:pt>
                <c:pt idx="6">
                  <c:v>194.2</c:v>
                </c:pt>
                <c:pt idx="7">
                  <c:v>92.14</c:v>
                </c:pt>
                <c:pt idx="8">
                  <c:v>290.38</c:v>
                </c:pt>
                <c:pt idx="9">
                  <c:v>339.07</c:v>
                </c:pt>
                <c:pt idx="10">
                  <c:v>298.17</c:v>
                </c:pt>
                <c:pt idx="11">
                  <c:v>99.46</c:v>
                </c:pt>
                <c:pt idx="12">
                  <c:v>312.14</c:v>
                </c:pt>
                <c:pt idx="13">
                  <c:v>189.54</c:v>
                </c:pt>
                <c:pt idx="14">
                  <c:v>300.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86</a:t>
                    </a:r>
                  </a:p>
                </c:rich>
              </c:tx>
              <c:dLblPos val="t"/>
              <c:showLegendKey val="0"/>
              <c:showVal val="1"/>
              <c:showCatName val="0"/>
              <c:showSerName val="0"/>
              <c:showPercent val="0"/>
              <c:showBubbleSize val="0"/>
            </c:dLbl>
            <c:dLbl>
              <c:idx val="1"/>
              <c:tx>
                <c:rich>
                  <a:bodyPr/>
                  <a:lstStyle/>
                  <a:p>
                    <a:r>
                      <a:t>307.23</a:t>
                    </a:r>
                  </a:p>
                </c:rich>
              </c:tx>
              <c:dLblPos val="t"/>
              <c:showLegendKey val="0"/>
              <c:showVal val="1"/>
              <c:showCatName val="0"/>
              <c:showSerName val="0"/>
              <c:showPercent val="0"/>
              <c:showBubbleSize val="0"/>
            </c:dLbl>
            <c:dLbl>
              <c:idx val="2"/>
              <c:tx>
                <c:rich>
                  <a:bodyPr/>
                  <a:lstStyle/>
                  <a:p>
                    <a:r>
                      <a:t>312.26</a:t>
                    </a:r>
                  </a:p>
                </c:rich>
              </c:tx>
              <c:dLblPos val="t"/>
              <c:showLegendKey val="0"/>
              <c:showVal val="1"/>
              <c:showCatName val="0"/>
              <c:showSerName val="0"/>
              <c:showPercent val="0"/>
              <c:showBubbleSize val="0"/>
            </c:dLbl>
            <c:dLbl>
              <c:idx val="3"/>
              <c:tx>
                <c:rich>
                  <a:bodyPr/>
                  <a:lstStyle/>
                  <a:p>
                    <a:r>
                      <a:t>85.3</a:t>
                    </a:r>
                  </a:p>
                </c:rich>
              </c:tx>
              <c:dLblPos val="t"/>
              <c:showLegendKey val="0"/>
              <c:showVal val="1"/>
              <c:showCatName val="0"/>
              <c:showSerName val="0"/>
              <c:showPercent val="0"/>
              <c:showBubbleSize val="0"/>
            </c:dLbl>
            <c:dLbl>
              <c:idx val="4"/>
              <c:tx>
                <c:rich>
                  <a:bodyPr/>
                  <a:lstStyle/>
                  <a:p>
                    <a:r>
                      <a:t>246.19</a:t>
                    </a:r>
                  </a:p>
                </c:rich>
              </c:tx>
              <c:dLblPos val="t"/>
              <c:showLegendKey val="0"/>
              <c:showVal val="1"/>
              <c:showCatName val="0"/>
              <c:showSerName val="0"/>
              <c:showPercent val="0"/>
              <c:showBubbleSize val="0"/>
            </c:dLbl>
            <c:dLbl>
              <c:idx val="5"/>
              <c:tx>
                <c:rich>
                  <a:bodyPr/>
                  <a:lstStyle/>
                  <a:p>
                    <a:r>
                      <a:t>296.61</a:t>
                    </a:r>
                  </a:p>
                </c:rich>
              </c:tx>
              <c:dLblPos val="t"/>
              <c:showLegendKey val="0"/>
              <c:showVal val="1"/>
              <c:showCatName val="0"/>
              <c:showSerName val="0"/>
              <c:showPercent val="0"/>
              <c:showBubbleSize val="0"/>
            </c:dLbl>
            <c:dLbl>
              <c:idx val="6"/>
              <c:tx>
                <c:rich>
                  <a:bodyPr/>
                  <a:lstStyle/>
                  <a:p>
                    <a:r>
                      <a:t>283.81</a:t>
                    </a:r>
                  </a:p>
                </c:rich>
              </c:tx>
              <c:dLblPos val="t"/>
              <c:showLegendKey val="0"/>
              <c:showVal val="1"/>
              <c:showCatName val="0"/>
              <c:showSerName val="0"/>
              <c:showPercent val="0"/>
              <c:showBubbleSize val="0"/>
            </c:dLbl>
            <c:dLbl>
              <c:idx val="7"/>
              <c:tx>
                <c:rich>
                  <a:bodyPr/>
                  <a:lstStyle/>
                  <a:p>
                    <a:r>
                      <a:t>297.2</a:t>
                    </a:r>
                  </a:p>
                </c:rich>
              </c:tx>
              <c:dLblPos val="t"/>
              <c:showLegendKey val="0"/>
              <c:showVal val="1"/>
              <c:showCatName val="0"/>
              <c:showSerName val="0"/>
              <c:showPercent val="0"/>
              <c:showBubbleSize val="0"/>
            </c:dLbl>
            <c:dLbl>
              <c:idx val="8"/>
              <c:tx>
                <c:rich>
                  <a:bodyPr/>
                  <a:lstStyle/>
                  <a:p>
                    <a:r>
                      <a:t>254.41</a:t>
                    </a:r>
                  </a:p>
                </c:rich>
              </c:tx>
              <c:dLblPos val="t"/>
              <c:showLegendKey val="0"/>
              <c:showVal val="1"/>
              <c:showCatName val="0"/>
              <c:showSerName val="0"/>
              <c:showPercent val="0"/>
              <c:showBubbleSize val="0"/>
            </c:dLbl>
            <c:dLbl>
              <c:idx val="9"/>
              <c:tx>
                <c:rich>
                  <a:bodyPr/>
                  <a:lstStyle/>
                  <a:p>
                    <a:r>
                      <a:t>326.36</a:t>
                    </a:r>
                  </a:p>
                </c:rich>
              </c:tx>
              <c:dLblPos val="t"/>
              <c:showLegendKey val="0"/>
              <c:showVal val="1"/>
              <c:showCatName val="0"/>
              <c:showSerName val="0"/>
              <c:showPercent val="0"/>
              <c:showBubbleSize val="0"/>
            </c:dLbl>
            <c:dLbl>
              <c:idx val="10"/>
              <c:tx>
                <c:rich>
                  <a:bodyPr/>
                  <a:lstStyle/>
                  <a:p>
                    <a:r>
                      <a:t>258.77</a:t>
                    </a:r>
                  </a:p>
                </c:rich>
              </c:tx>
              <c:dLblPos val="t"/>
              <c:showLegendKey val="0"/>
              <c:showVal val="1"/>
              <c:showCatName val="0"/>
              <c:showSerName val="0"/>
              <c:showPercent val="0"/>
              <c:showBubbleSize val="0"/>
            </c:dLbl>
            <c:dLbl>
              <c:idx val="11"/>
              <c:tx>
                <c:rich>
                  <a:bodyPr/>
                  <a:lstStyle/>
                  <a:p>
                    <a:r>
                      <a:t>331.57</a:t>
                    </a:r>
                  </a:p>
                </c:rich>
              </c:tx>
              <c:dLblPos val="t"/>
              <c:showLegendKey val="0"/>
              <c:showVal val="1"/>
              <c:showCatName val="0"/>
              <c:showSerName val="0"/>
              <c:showPercent val="0"/>
              <c:showBubbleSize val="0"/>
            </c:dLbl>
            <c:dLbl>
              <c:idx val="12"/>
              <c:tx>
                <c:rich>
                  <a:bodyPr/>
                  <a:lstStyle/>
                  <a:p>
                    <a:r>
                      <a:t>324.2</a:t>
                    </a:r>
                  </a:p>
                </c:rich>
              </c:tx>
              <c:dLblPos val="t"/>
              <c:showLegendKey val="0"/>
              <c:showVal val="1"/>
              <c:showCatName val="0"/>
              <c:showSerName val="0"/>
              <c:showPercent val="0"/>
              <c:showBubbleSize val="0"/>
            </c:dLbl>
            <c:dLbl>
              <c:idx val="13"/>
              <c:tx>
                <c:rich>
                  <a:bodyPr/>
                  <a:lstStyle/>
                  <a:p>
                    <a:r>
                      <a:t>334.39</a:t>
                    </a:r>
                  </a:p>
                </c:rich>
              </c:tx>
              <c:dLblPos val="t"/>
              <c:showLegendKey val="0"/>
              <c:showVal val="1"/>
              <c:showCatName val="0"/>
              <c:showSerName val="0"/>
              <c:showPercent val="0"/>
              <c:showBubbleSize val="0"/>
            </c:dLbl>
            <c:dLbl>
              <c:idx val="14"/>
              <c:tx>
                <c:rich>
                  <a:bodyPr/>
                  <a:lstStyle/>
                  <a:p>
                    <a:r>
                      <a:t>82.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Dry Balance Sunscreen Adults Sport Spray Liquido 50 220Ml</c:v>
                </c:pt>
                <c:pt idx="1">
                  <c:v>Edgewell Banana Boat Advanced Protection Sunscreen Adults Cosmetics Liquido 50+ 240Ml</c:v>
                </c:pt>
                <c:pt idx="2">
                  <c:v>Edgewell Banana Boat Aqua Protect Sunscreen Adults Cosmetics Spray Liquido 50+ 170Ml</c:v>
                </c:pt>
                <c:pt idx="3">
                  <c:v>Edgewell Banana Boat Advanced Protection Sunscreen Adults Cosmetics Liquido 50+ 60Ml</c:v>
                </c:pt>
                <c:pt idx="4">
                  <c:v>Edgewell Banana Boat Advanced Protection Sunscreen Adults Cosmetics Liquido 50 180Ml</c:v>
                </c:pt>
                <c:pt idx="5">
                  <c:v>Edgewell Banana Boat Aqua Protect Sunscreen Adults Sport Crema 50+ 236Ml</c:v>
                </c:pt>
                <c:pt idx="6">
                  <c:v>Edgewell Banana Boat Aqua Protect Sunscreen Adults Cosmetics Crema 50+ 236Ml</c:v>
                </c:pt>
                <c:pt idx="7">
                  <c:v>Edgewell Banana Boat Dry Balance Sunscreen Adults Sport Crema 50+ 180Ml</c:v>
                </c:pt>
                <c:pt idx="8">
                  <c:v>Edgewell Banana Boat Kids Sport Sunscreen Kids Cosmetics Crema 50 180Ml</c:v>
                </c:pt>
                <c:pt idx="9">
                  <c:v>Edgewell Banana Boat Banded Pack Banded Pack 2X Sunscreen Multi 50+ 170Ml</c:v>
                </c:pt>
                <c:pt idx="10">
                  <c:v>Edgewell Banana Boat Banded Pack Banded Pack 2X Sunscreen Multi 50+ 236Ml</c:v>
                </c:pt>
                <c:pt idx="11">
                  <c:v>Edgewell Banana Boat Mineral Sunscreen Kids Cosmetics Locion 50 180Ml</c:v>
                </c:pt>
                <c:pt idx="12">
                  <c:v>Edgewell Banana Boat Mineral Sunscreen Adults Cosmetics Locion 50 180Ml</c:v>
                </c:pt>
                <c:pt idx="13">
                  <c:v>Edgewell Banana Boat Mineral Sunscreen Adults Sport Locion 50 180Ml</c:v>
                </c:pt>
                <c:pt idx="14">
                  <c:v>Edgewell Banana Boat Dry Balance Sunscreen Adults Sport Locion 50+ 60Ml</c:v>
                </c:pt>
              </c:strCache>
            </c:strRef>
          </c:cat>
          <c:val>
            <c:numRef>
              <c:f>Sheet1!$B$2:$B$16</c:f>
              <c:numCache>
                <c:formatCode>General</c:formatCode>
                <c:ptCount val="15"/>
                <c:pt idx="0">
                  <c:v>302.86</c:v>
                </c:pt>
                <c:pt idx="1">
                  <c:v>307.23</c:v>
                </c:pt>
                <c:pt idx="2">
                  <c:v>312.26</c:v>
                </c:pt>
                <c:pt idx="3">
                  <c:v>85.3</c:v>
                </c:pt>
                <c:pt idx="4">
                  <c:v>246.19</c:v>
                </c:pt>
                <c:pt idx="5">
                  <c:v>296.61</c:v>
                </c:pt>
                <c:pt idx="6">
                  <c:v>283.81</c:v>
                </c:pt>
                <c:pt idx="7">
                  <c:v>297.2</c:v>
                </c:pt>
                <c:pt idx="8">
                  <c:v>254.41</c:v>
                </c:pt>
                <c:pt idx="9">
                  <c:v>326.36</c:v>
                </c:pt>
                <c:pt idx="10">
                  <c:v>258.77</c:v>
                </c:pt>
                <c:pt idx="11">
                  <c:v>331.57</c:v>
                </c:pt>
                <c:pt idx="12">
                  <c:v>324.2</c:v>
                </c:pt>
                <c:pt idx="13">
                  <c:v>334.39</c:v>
                </c:pt>
                <c:pt idx="14">
                  <c:v>82.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dLblPos val="t"/>
              <c:showLegendKey val="0"/>
              <c:showVal val="1"/>
              <c:showCatName val="0"/>
              <c:showSerName val="0"/>
              <c:showPercent val="0"/>
              <c:showBubbleSize val="0"/>
            </c:dLbl>
            <c:dLbl>
              <c:idx val="1"/>
              <c:tx>
                <c:rich>
                  <a:bodyPr/>
                  <a:lstStyle/>
                  <a:p>
                    <a:r>
                      <a:t>290.72</a:t>
                    </a:r>
                  </a:p>
                </c:rich>
              </c:tx>
              <c:dLblPos val="t"/>
              <c:showLegendKey val="0"/>
              <c:showVal val="1"/>
              <c:showCatName val="0"/>
              <c:showSerName val="0"/>
              <c:showPercent val="0"/>
              <c:showBubbleSize val="0"/>
            </c:dLbl>
            <c:dLbl>
              <c:idx val="2"/>
              <c:tx>
                <c:rich>
                  <a:bodyPr/>
                  <a:lstStyle/>
                  <a:p>
                    <a:r>
                      <a:t>311.72</a:t>
                    </a:r>
                  </a:p>
                </c:rich>
              </c:tx>
              <c:dLblPos val="t"/>
              <c:showLegendKey val="0"/>
              <c:showVal val="1"/>
              <c:showCatName val="0"/>
              <c:showSerName val="0"/>
              <c:showPercent val="0"/>
              <c:showBubbleSize val="0"/>
            </c:dLbl>
            <c:dLbl>
              <c:idx val="3"/>
              <c:tx>
                <c:rich>
                  <a:bodyPr/>
                  <a:lstStyle/>
                  <a:p>
                    <a:r>
                      <a:t>276.37</a:t>
                    </a:r>
                  </a:p>
                </c:rich>
              </c:tx>
              <c:dLblPos val="t"/>
              <c:showLegendKey val="0"/>
              <c:showVal val="1"/>
              <c:showCatName val="0"/>
              <c:showSerName val="0"/>
              <c:showPercent val="0"/>
              <c:showBubbleSize val="0"/>
            </c:dLbl>
            <c:dLbl>
              <c:idx val="4"/>
              <c:tx>
                <c:rich>
                  <a:bodyPr/>
                  <a:lstStyle/>
                  <a:p>
                    <a:r>
                      <a:t>316.05</a:t>
                    </a:r>
                  </a:p>
                </c:rich>
              </c:tx>
              <c:dLblPos val="t"/>
              <c:showLegendKey val="0"/>
              <c:showVal val="1"/>
              <c:showCatName val="0"/>
              <c:showSerName val="0"/>
              <c:showPercent val="0"/>
              <c:showBubbleSize val="0"/>
            </c:dLbl>
            <c:dLbl>
              <c:idx val="5"/>
              <c:tx>
                <c:rich>
                  <a:bodyPr/>
                  <a:lstStyle/>
                  <a:p>
                    <a:r>
                      <a:t>310.2</a:t>
                    </a:r>
                  </a:p>
                </c:rich>
              </c:tx>
              <c:dLblPos val="t"/>
              <c:showLegendKey val="0"/>
              <c:showVal val="1"/>
              <c:showCatName val="0"/>
              <c:showSerName val="0"/>
              <c:showPercent val="0"/>
              <c:showBubbleSize val="0"/>
            </c:dLbl>
            <c:dLbl>
              <c:idx val="6"/>
              <c:tx>
                <c:rich>
                  <a:bodyPr/>
                  <a:lstStyle/>
                  <a:p>
                    <a:r>
                      <a:t>317.39</a:t>
                    </a:r>
                  </a:p>
                </c:rich>
              </c:tx>
              <c:dLblPos val="t"/>
              <c:showLegendKey val="0"/>
              <c:showVal val="1"/>
              <c:showCatName val="0"/>
              <c:showSerName val="0"/>
              <c:showPercent val="0"/>
              <c:showBubbleSize val="0"/>
            </c:dLbl>
            <c:dLbl>
              <c:idx val="7"/>
              <c:tx>
                <c:rich>
                  <a:bodyPr/>
                  <a:lstStyle/>
                  <a:p>
                    <a:r>
                      <a:t>88.43</a:t>
                    </a:r>
                  </a:p>
                </c:rich>
              </c:tx>
              <c:dLblPos val="t"/>
              <c:showLegendKey val="0"/>
              <c:showVal val="1"/>
              <c:showCatName val="0"/>
              <c:showSerName val="0"/>
              <c:showPercent val="0"/>
              <c:showBubbleSize val="0"/>
            </c:dLbl>
            <c:dLbl>
              <c:idx val="8"/>
              <c:tx>
                <c:rich>
                  <a:bodyPr/>
                  <a:lstStyle/>
                  <a:p>
                    <a:r>
                      <a:t>254.68</a:t>
                    </a:r>
                  </a:p>
                </c:rich>
              </c:tx>
              <c:dLblPos val="t"/>
              <c:showLegendKey val="0"/>
              <c:showVal val="1"/>
              <c:showCatName val="0"/>
              <c:showSerName val="0"/>
              <c:showPercent val="0"/>
              <c:showBubbleSize val="0"/>
            </c:dLbl>
            <c:dLbl>
              <c:idx val="9"/>
              <c:tx>
                <c:rich>
                  <a:bodyPr/>
                  <a:lstStyle/>
                  <a:p>
                    <a:r>
                      <a:t>338.04</a:t>
                    </a:r>
                  </a:p>
                </c:rich>
              </c:tx>
              <c:dLblPos val="t"/>
              <c:showLegendKey val="0"/>
              <c:showVal val="1"/>
              <c:showCatName val="0"/>
              <c:showSerName val="0"/>
              <c:showPercent val="0"/>
              <c:showBubbleSize val="0"/>
            </c:dLbl>
            <c:dLbl>
              <c:idx val="10"/>
              <c:tx>
                <c:rich>
                  <a:bodyPr/>
                  <a:lstStyle/>
                  <a:p>
                    <a:r>
                      <a:t>269.13</a:t>
                    </a:r>
                  </a:p>
                </c:rich>
              </c:tx>
              <c:dLblPos val="t"/>
              <c:showLegendKey val="0"/>
              <c:showVal val="1"/>
              <c:showCatName val="0"/>
              <c:showSerName val="0"/>
              <c:showPercent val="0"/>
              <c:showBubbleSize val="0"/>
            </c:dLbl>
            <c:dLbl>
              <c:idx val="11"/>
              <c:tx>
                <c:rich>
                  <a:bodyPr/>
                  <a:lstStyle/>
                  <a:p>
                    <a:r>
                      <a:t>337.05</a:t>
                    </a:r>
                  </a:p>
                </c:rich>
              </c:tx>
              <c:dLblPos val="t"/>
              <c:showLegendKey val="0"/>
              <c:showVal val="1"/>
              <c:showCatName val="0"/>
              <c:showSerName val="0"/>
              <c:showPercent val="0"/>
              <c:showBubbleSize val="0"/>
            </c:dLbl>
            <c:dLbl>
              <c:idx val="12"/>
              <c:tx>
                <c:rich>
                  <a:bodyPr/>
                  <a:lstStyle/>
                  <a:p>
                    <a:r>
                      <a:t>330.28</a:t>
                    </a:r>
                  </a:p>
                </c:rich>
              </c:tx>
              <c:dLblPos val="t"/>
              <c:showLegendKey val="0"/>
              <c:showVal val="1"/>
              <c:showCatName val="0"/>
              <c:showSerName val="0"/>
              <c:showPercent val="0"/>
              <c:showBubbleSize val="0"/>
            </c:dLbl>
            <c:dLbl>
              <c:idx val="13"/>
              <c:tx>
                <c:rich>
                  <a:bodyPr/>
                  <a:lstStyle/>
                  <a:p>
                    <a:r>
                      <a:t>333.98</a:t>
                    </a:r>
                  </a:p>
                </c:rich>
              </c:tx>
              <c:dLblPos val="t"/>
              <c:showLegendKey val="0"/>
              <c:showVal val="1"/>
              <c:showCatName val="0"/>
              <c:showSerName val="0"/>
              <c:showPercent val="0"/>
              <c:showBubbleSize val="0"/>
            </c:dLbl>
            <c:dLbl>
              <c:idx val="14"/>
              <c:tx>
                <c:rich>
                  <a:bodyPr/>
                  <a:lstStyle/>
                  <a:p>
                    <a:r>
                      <a:t>88.8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Kids Sport Sunscreen Kids Cosmetics Crema 50 180Ml</c:v>
                </c:pt>
                <c:pt idx="4">
                  <c:v>Edgewell Banana Boat Dry Balance Sunscreen Adults Sport Spray Liquido 50 220Ml</c:v>
                </c:pt>
                <c:pt idx="5">
                  <c:v>Edgewell Banana Boat Advanced Protection Sunscreen Adults Cosmetics Liquido 50+ 240Ml</c:v>
                </c:pt>
                <c:pt idx="6">
                  <c:v>Edgewell Banana Boat Aqua Protect Sunscreen Adults Cosmetics Spray Liquido 50+ 170Ml</c:v>
                </c:pt>
                <c:pt idx="7">
                  <c:v>Edgewell Banana Boat Advanced Protection Sunscreen Adults Cosmetics Liquido 50+ 60Ml</c:v>
                </c:pt>
                <c:pt idx="8">
                  <c:v>Edgewell Banana Boat Advanced Protection Sunscreen Adults Cosmetics Liquido 50 180Ml</c:v>
                </c:pt>
                <c:pt idx="9">
                  <c:v>Edgewell Banana Boat Banded Pack Banded Pack 2X Sunscreen Multi 50+ 170Ml</c:v>
                </c:pt>
                <c:pt idx="10">
                  <c:v>Edgewell Banana Boat Banded Pack Banded Pack 2X Sunscreen Multi 50+ 236Ml</c:v>
                </c:pt>
                <c:pt idx="11">
                  <c:v>Edgewell Banana Boat Mineral Sunscreen Kids Cosmetics Locion 50 180Ml</c:v>
                </c:pt>
                <c:pt idx="12">
                  <c:v>Edgewell Banana Boat Mineral Sunscreen Adults Cosmetics Locion 50 180Ml</c:v>
                </c:pt>
                <c:pt idx="13">
                  <c:v>Edgewell Banana Boat Mineral Sunscreen Adults Sport Locion 50 180Ml</c:v>
                </c:pt>
                <c:pt idx="14">
                  <c:v>Edgewell Banana Boat Dry Balance Sunscreen Adults Sport Locion 50+ 60Ml</c:v>
                </c:pt>
              </c:strCache>
            </c:strRef>
          </c:cat>
          <c:val>
            <c:numRef>
              <c:f>Sheet1!$B$2:$B$16</c:f>
              <c:numCache>
                <c:formatCode>General</c:formatCode>
                <c:ptCount val="15"/>
                <c:pt idx="0">
                  <c:v>303.99</c:v>
                </c:pt>
                <c:pt idx="1">
                  <c:v>290.72</c:v>
                </c:pt>
                <c:pt idx="2">
                  <c:v>311.72</c:v>
                </c:pt>
                <c:pt idx="3">
                  <c:v>276.37</c:v>
                </c:pt>
                <c:pt idx="4">
                  <c:v>316.05</c:v>
                </c:pt>
                <c:pt idx="5">
                  <c:v>310.2</c:v>
                </c:pt>
                <c:pt idx="6">
                  <c:v>317.39</c:v>
                </c:pt>
                <c:pt idx="7">
                  <c:v>88.43</c:v>
                </c:pt>
                <c:pt idx="8">
                  <c:v>254.68</c:v>
                </c:pt>
                <c:pt idx="9">
                  <c:v>338.04</c:v>
                </c:pt>
                <c:pt idx="10">
                  <c:v>269.13</c:v>
                </c:pt>
                <c:pt idx="11">
                  <c:v>337.05</c:v>
                </c:pt>
                <c:pt idx="12">
                  <c:v>330.28</c:v>
                </c:pt>
                <c:pt idx="13">
                  <c:v>333.98</c:v>
                </c:pt>
                <c:pt idx="14">
                  <c:v>88.8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9.09</a:t>
                    </a:r>
                  </a:p>
                </c:rich>
              </c:tx>
              <c:dLblPos val="t"/>
              <c:showLegendKey val="0"/>
              <c:showVal val="1"/>
              <c:showCatName val="0"/>
              <c:showSerName val="0"/>
              <c:showPercent val="0"/>
              <c:showBubbleSize val="0"/>
            </c:dLbl>
            <c:dLbl>
              <c:idx val="1"/>
              <c:tx>
                <c:rich>
                  <a:bodyPr/>
                  <a:lstStyle/>
                  <a:p>
                    <a:r>
                      <a:t>330.54</a:t>
                    </a:r>
                  </a:p>
                </c:rich>
              </c:tx>
              <c:dLblPos val="t"/>
              <c:showLegendKey val="0"/>
              <c:showVal val="1"/>
              <c:showCatName val="0"/>
              <c:showSerName val="0"/>
              <c:showPercent val="0"/>
              <c:showBubbleSize val="0"/>
            </c:dLbl>
            <c:dLbl>
              <c:idx val="2"/>
              <c:tx>
                <c:rich>
                  <a:bodyPr/>
                  <a:lstStyle/>
                  <a:p>
                    <a:r>
                      <a:t>329.19</a:t>
                    </a:r>
                  </a:p>
                </c:rich>
              </c:tx>
              <c:dLblPos val="t"/>
              <c:showLegendKey val="0"/>
              <c:showVal val="1"/>
              <c:showCatName val="0"/>
              <c:showSerName val="0"/>
              <c:showPercent val="0"/>
              <c:showBubbleSize val="0"/>
            </c:dLbl>
            <c:dLbl>
              <c:idx val="3"/>
              <c:tx>
                <c:rich>
                  <a:bodyPr/>
                  <a:lstStyle/>
                  <a:p>
                    <a:r>
                      <a:t>91.75</a:t>
                    </a:r>
                  </a:p>
                </c:rich>
              </c:tx>
              <c:dLblPos val="t"/>
              <c:showLegendKey val="0"/>
              <c:showVal val="1"/>
              <c:showCatName val="0"/>
              <c:showSerName val="0"/>
              <c:showPercent val="0"/>
              <c:showBubbleSize val="0"/>
            </c:dLbl>
            <c:dLbl>
              <c:idx val="4"/>
              <c:tx>
                <c:rich>
                  <a:bodyPr/>
                  <a:lstStyle/>
                  <a:p>
                    <a:r>
                      <a:t>348.86</a:t>
                    </a:r>
                  </a:p>
                </c:rich>
              </c:tx>
              <c:dLblPos val="t"/>
              <c:showLegendKey val="0"/>
              <c:showVal val="1"/>
              <c:showCatName val="0"/>
              <c:showSerName val="0"/>
              <c:showPercent val="0"/>
              <c:showBubbleSize val="0"/>
            </c:dLbl>
            <c:dLbl>
              <c:idx val="5"/>
              <c:tx>
                <c:rich>
                  <a:bodyPr/>
                  <a:lstStyle/>
                  <a:p>
                    <a:r>
                      <a:t>270.48</a:t>
                    </a:r>
                  </a:p>
                </c:rich>
              </c:tx>
              <c:dLblPos val="t"/>
              <c:showLegendKey val="0"/>
              <c:showVal val="1"/>
              <c:showCatName val="0"/>
              <c:showSerName val="0"/>
              <c:showPercent val="0"/>
              <c:showBubbleSize val="0"/>
            </c:dLbl>
            <c:dLbl>
              <c:idx val="6"/>
              <c:tx>
                <c:rich>
                  <a:bodyPr/>
                  <a:lstStyle/>
                  <a:p>
                    <a:r>
                      <a:t>359.59</a:t>
                    </a:r>
                  </a:p>
                </c:rich>
              </c:tx>
              <c:dLblPos val="t"/>
              <c:showLegendKey val="0"/>
              <c:showVal val="1"/>
              <c:showCatName val="0"/>
              <c:showSerName val="0"/>
              <c:showPercent val="0"/>
              <c:showBubbleSize val="0"/>
            </c:dLbl>
            <c:dLbl>
              <c:idx val="7"/>
              <c:tx>
                <c:rich>
                  <a:bodyPr/>
                  <a:lstStyle/>
                  <a:p>
                    <a:r>
                      <a:t>341.27</a:t>
                    </a:r>
                  </a:p>
                </c:rich>
              </c:tx>
              <c:dLblPos val="t"/>
              <c:showLegendKey val="0"/>
              <c:showVal val="1"/>
              <c:showCatName val="0"/>
              <c:showSerName val="0"/>
              <c:showPercent val="0"/>
              <c:showBubbleSize val="0"/>
            </c:dLbl>
            <c:dLbl>
              <c:idx val="8"/>
              <c:tx>
                <c:rich>
                  <a:bodyPr/>
                  <a:lstStyle/>
                  <a:p>
                    <a:r>
                      <a:t>330.0</a:t>
                    </a:r>
                  </a:p>
                </c:rich>
              </c:tx>
              <c:dLblPos val="t"/>
              <c:showLegendKey val="0"/>
              <c:showVal val="1"/>
              <c:showCatName val="0"/>
              <c:showSerName val="0"/>
              <c:showPercent val="0"/>
              <c:showBubbleSize val="0"/>
            </c:dLbl>
            <c:dLbl>
              <c:idx val="9"/>
              <c:tx>
                <c:rich>
                  <a:bodyPr/>
                  <a:lstStyle/>
                  <a:p>
                    <a:r>
                      <a:t>302.83</a:t>
                    </a:r>
                  </a:p>
                </c:rich>
              </c:tx>
              <c:dLblPos val="t"/>
              <c:showLegendKey val="0"/>
              <c:showVal val="1"/>
              <c:showCatName val="0"/>
              <c:showSerName val="0"/>
              <c:showPercent val="0"/>
              <c:showBubbleSize val="0"/>
            </c:dLbl>
            <c:dLbl>
              <c:idx val="10"/>
              <c:tx>
                <c:rich>
                  <a:bodyPr/>
                  <a:lstStyle/>
                  <a:p>
                    <a:r>
                      <a:t>359.99</a:t>
                    </a:r>
                  </a:p>
                </c:rich>
              </c:tx>
              <c:dLblPos val="t"/>
              <c:showLegendKey val="0"/>
              <c:showVal val="1"/>
              <c:showCatName val="0"/>
              <c:showSerName val="0"/>
              <c:showPercent val="0"/>
              <c:showBubbleSize val="0"/>
            </c:dLbl>
            <c:dLbl>
              <c:idx val="11"/>
              <c:tx>
                <c:rich>
                  <a:bodyPr/>
                  <a:lstStyle/>
                  <a:p>
                    <a:r>
                      <a:t>417.8</a:t>
                    </a:r>
                  </a:p>
                </c:rich>
              </c:tx>
              <c:dLblPos val="t"/>
              <c:showLegendKey val="0"/>
              <c:showVal val="1"/>
              <c:showCatName val="0"/>
              <c:showSerName val="0"/>
              <c:showPercent val="0"/>
              <c:showBubbleSize val="0"/>
            </c:dLbl>
            <c:dLbl>
              <c:idx val="12"/>
              <c:tx>
                <c:rich>
                  <a:bodyPr/>
                  <a:lstStyle/>
                  <a:p>
                    <a:r>
                      <a:t>358.05</a:t>
                    </a:r>
                  </a:p>
                </c:rich>
              </c:tx>
              <c:dLblPos val="t"/>
              <c:showLegendKey val="0"/>
              <c:showVal val="1"/>
              <c:showCatName val="0"/>
              <c:showSerName val="0"/>
              <c:showPercent val="0"/>
              <c:showBubbleSize val="0"/>
            </c:dLbl>
            <c:dLbl>
              <c:idx val="13"/>
              <c:tx>
                <c:rich>
                  <a:bodyPr/>
                  <a:lstStyle/>
                  <a:p>
                    <a:r>
                      <a:t>362.05</a:t>
                    </a:r>
                  </a:p>
                </c:rich>
              </c:tx>
              <c:dLblPos val="t"/>
              <c:showLegendKey val="0"/>
              <c:showVal val="1"/>
              <c:showCatName val="0"/>
              <c:showSerName val="0"/>
              <c:showPercent val="0"/>
              <c:showBubbleSize val="0"/>
            </c:dLbl>
            <c:dLbl>
              <c:idx val="14"/>
              <c:tx>
                <c:rich>
                  <a:bodyPr/>
                  <a:lstStyle/>
                  <a:p>
                    <a:r>
                      <a:t>88.1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Spray Liquido 50+ 170Ml</c:v>
                </c:pt>
                <c:pt idx="1">
                  <c:v>Edgewell Banana Boat Advanced Protection Sunscreen Adults Cosmetics Liquido 50+ 240Ml</c:v>
                </c:pt>
                <c:pt idx="2">
                  <c:v>Edgewell Banana Boat Dry Balance Sunscreen Adults Sport Spray Liquido 50 220Ml</c:v>
                </c:pt>
                <c:pt idx="3">
                  <c:v>Edgewell Banana Boat Advanced Protection Sunscreen Adults Cosmetics Liquido 50+ 60Ml</c:v>
                </c:pt>
                <c:pt idx="4">
                  <c:v>Edgewell Banana Boat Aqua Protect Sunscreen Adults Sport Crema 50+ 236Ml</c:v>
                </c:pt>
                <c:pt idx="5">
                  <c:v>Edgewell Banana Boat Dry Balance Sunscreen Adults Cosmetics Spray Crema 50+ 220Ml</c:v>
                </c:pt>
                <c:pt idx="6">
                  <c:v>Edgewell Banana Boat Dry Balance Sunscreen Adults Sport Crema 50+ 180Ml</c:v>
                </c:pt>
                <c:pt idx="7">
                  <c:v>Edgewell Banana Boat Aqua Protect Sunscreen Adults Cosmetics Crema 50+ 236Ml</c:v>
                </c:pt>
                <c:pt idx="8">
                  <c:v>Edgewell Banana Boat Kids Sport Sunscreen Kids Cosmetics Crema 50 180Ml</c:v>
                </c:pt>
                <c:pt idx="9">
                  <c:v>Edgewell Banana Boat Dry Balance Sunscreen Adults Cosmetics Crema 50+ 180Ml</c:v>
                </c:pt>
                <c:pt idx="10">
                  <c:v>Edgewell Banana Boat Mineral Sunscreen Kids Cosmetics Locion 50 180Ml</c:v>
                </c:pt>
                <c:pt idx="11">
                  <c:v>Edgewell Banana Boat Banded Pack Banded Pack 2X Sunscreen Multi 50+ 170Ml</c:v>
                </c:pt>
                <c:pt idx="12">
                  <c:v>Edgewell Banana Boat Mineral Sunscreen Adults Sport Locion 50 180Ml</c:v>
                </c:pt>
                <c:pt idx="13">
                  <c:v>Edgewell Banana Boat Mineral Sunscreen Adults Cosmetics Locion 50 180Ml</c:v>
                </c:pt>
                <c:pt idx="14">
                  <c:v>Edgewell Banana Boat Dry Balance Sunscreen Adults Sport Locion 50+ 60Ml</c:v>
                </c:pt>
              </c:strCache>
            </c:strRef>
          </c:cat>
          <c:val>
            <c:numRef>
              <c:f>Sheet1!$B$2:$B$16</c:f>
              <c:numCache>
                <c:formatCode>General</c:formatCode>
                <c:ptCount val="15"/>
                <c:pt idx="0">
                  <c:v>339.09</c:v>
                </c:pt>
                <c:pt idx="1">
                  <c:v>330.54</c:v>
                </c:pt>
                <c:pt idx="2">
                  <c:v>329.19</c:v>
                </c:pt>
                <c:pt idx="3">
                  <c:v>91.75</c:v>
                </c:pt>
                <c:pt idx="4">
                  <c:v>348.86</c:v>
                </c:pt>
                <c:pt idx="5">
                  <c:v>270.48</c:v>
                </c:pt>
                <c:pt idx="6">
                  <c:v>359.59</c:v>
                </c:pt>
                <c:pt idx="7">
                  <c:v>341.27</c:v>
                </c:pt>
                <c:pt idx="8">
                  <c:v>330.0</c:v>
                </c:pt>
                <c:pt idx="9">
                  <c:v>302.83</c:v>
                </c:pt>
                <c:pt idx="10">
                  <c:v>359.99</c:v>
                </c:pt>
                <c:pt idx="11">
                  <c:v>417.8</c:v>
                </c:pt>
                <c:pt idx="12">
                  <c:v>358.05</c:v>
                </c:pt>
                <c:pt idx="13">
                  <c:v>362.05</c:v>
                </c:pt>
                <c:pt idx="14">
                  <c:v>88.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4.59</a:t>
                    </a:r>
                  </a:p>
                </c:rich>
              </c:tx>
              <c:dLblPos val="t"/>
              <c:showLegendKey val="0"/>
              <c:showVal val="1"/>
              <c:showCatName val="0"/>
              <c:showSerName val="0"/>
              <c:showPercent val="0"/>
              <c:showBubbleSize val="0"/>
            </c:dLbl>
            <c:dLbl>
              <c:idx val="1"/>
              <c:tx>
                <c:rich>
                  <a:bodyPr/>
                  <a:lstStyle/>
                  <a:p>
                    <a:r>
                      <a:t>205.93</a:t>
                    </a:r>
                  </a:p>
                </c:rich>
              </c:tx>
              <c:dLblPos val="t"/>
              <c:showLegendKey val="0"/>
              <c:showVal val="1"/>
              <c:showCatName val="0"/>
              <c:showSerName val="0"/>
              <c:showPercent val="0"/>
              <c:showBubbleSize val="0"/>
            </c:dLbl>
            <c:dLbl>
              <c:idx val="2"/>
              <c:tx>
                <c:rich>
                  <a:bodyPr/>
                  <a:lstStyle/>
                  <a:p>
                    <a:r>
                      <a:t>125.0</a:t>
                    </a:r>
                  </a:p>
                </c:rich>
              </c:tx>
              <c:dLblPos val="t"/>
              <c:showLegendKey val="0"/>
              <c:showVal val="1"/>
              <c:showCatName val="0"/>
              <c:showSerName val="0"/>
              <c:showPercent val="0"/>
              <c:showBubbleSize val="0"/>
            </c:dLbl>
            <c:dLbl>
              <c:idx val="3"/>
              <c:tx>
                <c:rich>
                  <a:bodyPr/>
                  <a:lstStyle/>
                  <a:p>
                    <a:r>
                      <a:t>9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Mineral Sunscreen Adults Cosmetics Locion 50 60Ml</c:v>
                </c:pt>
                <c:pt idx="1">
                  <c:v>Edgewell Banana Boat Banded Pack Banded Pack 2X Sunscreen Multi 50+ 170Ml</c:v>
                </c:pt>
                <c:pt idx="2">
                  <c:v>Edgewell Banana Boat Gentle Protect Sunscreen Adults Cosmetics Locion 50 180Ml</c:v>
                </c:pt>
                <c:pt idx="3">
                  <c:v>Edgewell Banana Boat Advanced Protection Sunscreen Adults Cosmetics Liquido 50+ 60Ml</c:v>
                </c:pt>
              </c:strCache>
            </c:strRef>
          </c:cat>
          <c:val>
            <c:numRef>
              <c:f>Sheet1!$B$2:$B$5</c:f>
              <c:numCache>
                <c:formatCode>General</c:formatCode>
                <c:ptCount val="4"/>
                <c:pt idx="0">
                  <c:v>234.59</c:v>
                </c:pt>
                <c:pt idx="1">
                  <c:v>205.93</c:v>
                </c:pt>
                <c:pt idx="2">
                  <c:v>125.0</c:v>
                </c:pt>
                <c:pt idx="3">
                  <c:v>9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1.61</a:t>
                    </a:r>
                  </a:p>
                </c:rich>
              </c:tx>
              <c:dLblPos val="t"/>
              <c:showLegendKey val="0"/>
              <c:showVal val="1"/>
              <c:showCatName val="0"/>
              <c:showSerName val="0"/>
              <c:showPercent val="0"/>
              <c:showBubbleSize val="0"/>
            </c:dLbl>
            <c:dLbl>
              <c:idx val="1"/>
              <c:tx>
                <c:rich>
                  <a:bodyPr/>
                  <a:lstStyle/>
                  <a:p>
                    <a:r>
                      <a:t>290.34</a:t>
                    </a:r>
                  </a:p>
                </c:rich>
              </c:tx>
              <c:dLblPos val="t"/>
              <c:showLegendKey val="0"/>
              <c:showVal val="1"/>
              <c:showCatName val="0"/>
              <c:showSerName val="0"/>
              <c:showPercent val="0"/>
              <c:showBubbleSize val="0"/>
            </c:dLbl>
            <c:dLbl>
              <c:idx val="2"/>
              <c:tx>
                <c:rich>
                  <a:bodyPr/>
                  <a:lstStyle/>
                  <a:p>
                    <a:r>
                      <a:t>296.2</a:t>
                    </a:r>
                  </a:p>
                </c:rich>
              </c:tx>
              <c:dLblPos val="t"/>
              <c:showLegendKey val="0"/>
              <c:showVal val="1"/>
              <c:showCatName val="0"/>
              <c:showSerName val="0"/>
              <c:showPercent val="0"/>
              <c:showBubbleSize val="0"/>
            </c:dLbl>
            <c:dLbl>
              <c:idx val="3"/>
              <c:tx>
                <c:rich>
                  <a:bodyPr/>
                  <a:lstStyle/>
                  <a:p>
                    <a:r>
                      <a:t>261.01</a:t>
                    </a:r>
                  </a:p>
                </c:rich>
              </c:tx>
              <c:dLblPos val="t"/>
              <c:showLegendKey val="0"/>
              <c:showVal val="1"/>
              <c:showCatName val="0"/>
              <c:showSerName val="0"/>
              <c:showPercent val="0"/>
              <c:showBubbleSize val="0"/>
            </c:dLbl>
            <c:dLbl>
              <c:idx val="4"/>
              <c:tx>
                <c:rich>
                  <a:bodyPr/>
                  <a:lstStyle/>
                  <a:p>
                    <a:r>
                      <a:t>326.59</a:t>
                    </a:r>
                  </a:p>
                </c:rich>
              </c:tx>
              <c:dLblPos val="t"/>
              <c:showLegendKey val="0"/>
              <c:showVal val="1"/>
              <c:showCatName val="0"/>
              <c:showSerName val="0"/>
              <c:showPercent val="0"/>
              <c:showBubbleSize val="0"/>
            </c:dLbl>
            <c:dLbl>
              <c:idx val="5"/>
              <c:tx>
                <c:rich>
                  <a:bodyPr/>
                  <a:lstStyle/>
                  <a:p>
                    <a:r>
                      <a:t>268.26</a:t>
                    </a:r>
                  </a:p>
                </c:rich>
              </c:tx>
              <c:dLblPos val="t"/>
              <c:showLegendKey val="0"/>
              <c:showVal val="1"/>
              <c:showCatName val="0"/>
              <c:showSerName val="0"/>
              <c:showPercent val="0"/>
              <c:showBubbleSize val="0"/>
            </c:dLbl>
            <c:dLbl>
              <c:idx val="6"/>
              <c:tx>
                <c:rich>
                  <a:bodyPr/>
                  <a:lstStyle/>
                  <a:p>
                    <a:r>
                      <a:t>317.01</a:t>
                    </a:r>
                  </a:p>
                </c:rich>
              </c:tx>
              <c:dLblPos val="t"/>
              <c:showLegendKey val="0"/>
              <c:showVal val="1"/>
              <c:showCatName val="0"/>
              <c:showSerName val="0"/>
              <c:showPercent val="0"/>
              <c:showBubbleSize val="0"/>
            </c:dLbl>
            <c:dLbl>
              <c:idx val="7"/>
              <c:tx>
                <c:rich>
                  <a:bodyPr/>
                  <a:lstStyle/>
                  <a:p>
                    <a:r>
                      <a:t>316.77</a:t>
                    </a:r>
                  </a:p>
                </c:rich>
              </c:tx>
              <c:dLblPos val="t"/>
              <c:showLegendKey val="0"/>
              <c:showVal val="1"/>
              <c:showCatName val="0"/>
              <c:showSerName val="0"/>
              <c:showPercent val="0"/>
              <c:showBubbleSize val="0"/>
            </c:dLbl>
            <c:dLbl>
              <c:idx val="8"/>
              <c:tx>
                <c:rich>
                  <a:bodyPr/>
                  <a:lstStyle/>
                  <a:p>
                    <a:r>
                      <a:t>318.71</a:t>
                    </a:r>
                  </a:p>
                </c:rich>
              </c:tx>
              <c:dLblPos val="t"/>
              <c:showLegendKey val="0"/>
              <c:showVal val="1"/>
              <c:showCatName val="0"/>
              <c:showSerName val="0"/>
              <c:showPercent val="0"/>
              <c:showBubbleSize val="0"/>
            </c:dLbl>
            <c:dLbl>
              <c:idx val="9"/>
              <c:tx>
                <c:rich>
                  <a:bodyPr/>
                  <a:lstStyle/>
                  <a:p>
                    <a:r>
                      <a:t>311.93</a:t>
                    </a:r>
                  </a:p>
                </c:rich>
              </c:tx>
              <c:dLblPos val="t"/>
              <c:showLegendKey val="0"/>
              <c:showVal val="1"/>
              <c:showCatName val="0"/>
              <c:showSerName val="0"/>
              <c:showPercent val="0"/>
              <c:showBubbleSize val="0"/>
            </c:dLbl>
            <c:dLbl>
              <c:idx val="10"/>
              <c:tx>
                <c:rich>
                  <a:bodyPr/>
                  <a:lstStyle/>
                  <a:p>
                    <a:r>
                      <a:t>298.88</a:t>
                    </a:r>
                  </a:p>
                </c:rich>
              </c:tx>
              <c:dLblPos val="t"/>
              <c:showLegendKey val="0"/>
              <c:showVal val="1"/>
              <c:showCatName val="0"/>
              <c:showSerName val="0"/>
              <c:showPercent val="0"/>
              <c:showBubbleSize val="0"/>
            </c:dLbl>
            <c:dLbl>
              <c:idx val="11"/>
              <c:tx>
                <c:rich>
                  <a:bodyPr/>
                  <a:lstStyle/>
                  <a:p>
                    <a:r>
                      <a:t>312.87</a:t>
                    </a:r>
                  </a:p>
                </c:rich>
              </c:tx>
              <c:dLblPos val="t"/>
              <c:showLegendKey val="0"/>
              <c:showVal val="1"/>
              <c:showCatName val="0"/>
              <c:showSerName val="0"/>
              <c:showPercent val="0"/>
              <c:showBubbleSize val="0"/>
            </c:dLbl>
            <c:dLbl>
              <c:idx val="12"/>
              <c:tx>
                <c:rich>
                  <a:bodyPr/>
                  <a:lstStyle/>
                  <a:p>
                    <a:r>
                      <a:t>85.64</a:t>
                    </a:r>
                  </a:p>
                </c:rich>
              </c:tx>
              <c:dLblPos val="t"/>
              <c:showLegendKey val="0"/>
              <c:showVal val="1"/>
              <c:showCatName val="0"/>
              <c:showSerName val="0"/>
              <c:showPercent val="0"/>
              <c:showBubbleSize val="0"/>
            </c:dLbl>
            <c:dLbl>
              <c:idx val="13"/>
              <c:tx>
                <c:rich>
                  <a:bodyPr/>
                  <a:lstStyle/>
                  <a:p>
                    <a:r>
                      <a:t>254.2</a:t>
                    </a:r>
                  </a:p>
                </c:rich>
              </c:tx>
              <c:dLblPos val="t"/>
              <c:showLegendKey val="0"/>
              <c:showVal val="1"/>
              <c:showCatName val="0"/>
              <c:showSerName val="0"/>
              <c:showPercent val="0"/>
              <c:showBubbleSize val="0"/>
            </c:dLbl>
            <c:dLbl>
              <c:idx val="14"/>
              <c:tx>
                <c:rich>
                  <a:bodyPr/>
                  <a:lstStyle/>
                  <a:p>
                    <a:r>
                      <a:t>288.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Crema 50+ 236Ml</c:v>
                </c:pt>
                <c:pt idx="2">
                  <c:v>Edgewell Banana Boat Dry Balance Sunscreen Adults Sport Crema 50+ 180Ml</c:v>
                </c:pt>
                <c:pt idx="3">
                  <c:v>Edgewell Banana Boat Kids Sport Sunscreen Kids Cosmetics Crema 50 180Ml</c:v>
                </c:pt>
                <c:pt idx="4">
                  <c:v>Edgewell Banana Boat Banded Pack Banded Pack 2X Sunscreen Multi 50+ 170Ml</c:v>
                </c:pt>
                <c:pt idx="5">
                  <c:v>Edgewell Banana Boat Banded Pack Banded Pack 2X Sunscreen Multi 50+ 236Ml</c:v>
                </c:pt>
                <c:pt idx="6">
                  <c:v>Edgewell Banana Boat Mineral Sunscreen Adults Cosmetics Locion 50 180Ml</c:v>
                </c:pt>
                <c:pt idx="7">
                  <c:v>Edgewell Banana Boat Mineral Sunscreen Kids Cosmetics Locion 50 180Ml</c:v>
                </c:pt>
                <c:pt idx="8">
                  <c:v>Edgewell Banana Boat Mineral Sunscreen Adults Sport Locion 50 180Ml</c:v>
                </c:pt>
                <c:pt idx="9">
                  <c:v>Edgewell Banana Boat Dry Balance Sunscreen Adults Sport Spray Liquido 50 220Ml</c:v>
                </c:pt>
                <c:pt idx="10">
                  <c:v>Edgewell Banana Boat Advanced Protection Sunscreen Adults Cosmetics Liquido 50+ 240Ml</c:v>
                </c:pt>
                <c:pt idx="11">
                  <c:v>Edgewell Banana Boat Aqua Protect Sunscreen Adults Cosmetics Spray Liquido 50+ 170Ml</c:v>
                </c:pt>
                <c:pt idx="12">
                  <c:v>Edgewell Banana Boat Advanced Protection Sunscreen Adults Cosmetics Liquido 50+ 60Ml</c:v>
                </c:pt>
                <c:pt idx="13">
                  <c:v>Edgewell Banana Boat Advanced Protection Sunscreen Adults Cosmetics Liquido 50 180Ml</c:v>
                </c:pt>
                <c:pt idx="14">
                  <c:v>Edgewell Banana Boat Advanced Protection Sunscreen Adults Sport Spray Liquido 50+ 170Ml</c:v>
                </c:pt>
              </c:strCache>
            </c:strRef>
          </c:cat>
          <c:val>
            <c:numRef>
              <c:f>Sheet1!$B$2:$B$16</c:f>
              <c:numCache>
                <c:formatCode>General</c:formatCode>
                <c:ptCount val="15"/>
                <c:pt idx="0">
                  <c:v>281.61</c:v>
                </c:pt>
                <c:pt idx="1">
                  <c:v>290.34</c:v>
                </c:pt>
                <c:pt idx="2">
                  <c:v>296.2</c:v>
                </c:pt>
                <c:pt idx="3">
                  <c:v>261.01</c:v>
                </c:pt>
                <c:pt idx="4">
                  <c:v>326.59</c:v>
                </c:pt>
                <c:pt idx="5">
                  <c:v>268.26</c:v>
                </c:pt>
                <c:pt idx="6">
                  <c:v>317.01</c:v>
                </c:pt>
                <c:pt idx="7">
                  <c:v>316.77</c:v>
                </c:pt>
                <c:pt idx="8">
                  <c:v>318.71</c:v>
                </c:pt>
                <c:pt idx="9">
                  <c:v>311.93</c:v>
                </c:pt>
                <c:pt idx="10">
                  <c:v>298.88</c:v>
                </c:pt>
                <c:pt idx="11">
                  <c:v>312.87</c:v>
                </c:pt>
                <c:pt idx="12">
                  <c:v>85.64</c:v>
                </c:pt>
                <c:pt idx="13">
                  <c:v>254.2</c:v>
                </c:pt>
                <c:pt idx="14">
                  <c:v>28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70.09</a:t>
                    </a:r>
                  </a:p>
                </c:rich>
              </c:tx>
              <c:dLblPos val="t"/>
              <c:showLegendKey val="0"/>
              <c:showVal val="1"/>
              <c:showCatName val="0"/>
              <c:showSerName val="0"/>
              <c:showPercent val="0"/>
              <c:showBubbleSize val="0"/>
            </c:dLbl>
            <c:dLbl>
              <c:idx val="2"/>
              <c:tx>
                <c:rich>
                  <a:bodyPr/>
                  <a:lstStyle/>
                  <a:p>
                    <a:r>
                      <a:t>220.0</a:t>
                    </a:r>
                  </a:p>
                </c:rich>
              </c:tx>
              <c:dLblPos val="t"/>
              <c:showLegendKey val="0"/>
              <c:showVal val="1"/>
              <c:showCatName val="0"/>
              <c:showSerName val="0"/>
              <c:showPercent val="0"/>
              <c:showBubbleSize val="0"/>
            </c:dLbl>
            <c:dLbl>
              <c:idx val="3"/>
              <c:tx>
                <c:rich>
                  <a:bodyPr/>
                  <a:lstStyle/>
                  <a:p>
                    <a:r>
                      <a:t>258.0</a:t>
                    </a:r>
                  </a:p>
                </c:rich>
              </c:tx>
              <c:dLblPos val="t"/>
              <c:showLegendKey val="0"/>
              <c:showVal val="1"/>
              <c:showCatName val="0"/>
              <c:showSerName val="0"/>
              <c:showPercent val="0"/>
              <c:showBubbleSize val="0"/>
            </c:dLbl>
            <c:dLbl>
              <c:idx val="4"/>
              <c:tx>
                <c:rich>
                  <a:bodyPr/>
                  <a:lstStyle/>
                  <a:p>
                    <a:r>
                      <a:t>133.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Other Sunscreen Adults Cosmetics Crema 50+ 240Ml</c:v>
                </c:pt>
                <c:pt idx="1">
                  <c:v>Edgewell Hawaiian Tropic Island Sport Sunscreen Adults Sport Liquido 50 60Ml</c:v>
                </c:pt>
                <c:pt idx="2">
                  <c:v>Edgewell Hawaiian Tropic Island Sport Sunscreen Adults Sport Spray Liquido 50 220Ml</c:v>
                </c:pt>
                <c:pt idx="3">
                  <c:v>Edgewell Hawaiian Tropic Baby Sunscreen Baby Cosmetics Crema 50+ 240Ml</c:v>
                </c:pt>
                <c:pt idx="4">
                  <c:v>Edgewell Hawaiian Tropic Sheer Touch Sunscreen Adults Cosmetics Liquido 30 - 49 60Ml</c:v>
                </c:pt>
              </c:strCache>
            </c:strRef>
          </c:cat>
          <c:val>
            <c:numRef>
              <c:f>Sheet1!$B$2:$B$6</c:f>
              <c:numCache>
                <c:formatCode>General</c:formatCode>
                <c:ptCount val="5"/>
                <c:pt idx="0">
                  <c:v>240.0</c:v>
                </c:pt>
                <c:pt idx="1">
                  <c:v>70.09</c:v>
                </c:pt>
                <c:pt idx="2">
                  <c:v>220.0</c:v>
                </c:pt>
                <c:pt idx="3">
                  <c:v>258.0</c:v>
                </c:pt>
                <c:pt idx="4">
                  <c:v>13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2.81</a:t>
                    </a:r>
                  </a:p>
                </c:rich>
              </c:tx>
              <c:dLblPos val="t"/>
              <c:showLegendKey val="0"/>
              <c:showVal val="1"/>
              <c:showCatName val="0"/>
              <c:showSerName val="0"/>
              <c:showPercent val="0"/>
              <c:showBubbleSize val="0"/>
            </c:dLbl>
            <c:dLbl>
              <c:idx val="1"/>
              <c:tx>
                <c:rich>
                  <a:bodyPr/>
                  <a:lstStyle/>
                  <a:p>
                    <a:r>
                      <a:t>280.19</a:t>
                    </a:r>
                  </a:p>
                </c:rich>
              </c:tx>
              <c:dLblPos val="t"/>
              <c:showLegendKey val="0"/>
              <c:showVal val="1"/>
              <c:showCatName val="0"/>
              <c:showSerName val="0"/>
              <c:showPercent val="0"/>
              <c:showBubbleSize val="0"/>
            </c:dLbl>
            <c:dLbl>
              <c:idx val="2"/>
              <c:tx>
                <c:rich>
                  <a:bodyPr/>
                  <a:lstStyle/>
                  <a:p>
                    <a:r>
                      <a:t>230.57</a:t>
                    </a:r>
                  </a:p>
                </c:rich>
              </c:tx>
              <c:dLblPos val="t"/>
              <c:showLegendKey val="0"/>
              <c:showVal val="1"/>
              <c:showCatName val="0"/>
              <c:showSerName val="0"/>
              <c:showPercent val="0"/>
              <c:showBubbleSize val="0"/>
            </c:dLbl>
            <c:dLbl>
              <c:idx val="3"/>
              <c:tx>
                <c:rich>
                  <a:bodyPr/>
                  <a:lstStyle/>
                  <a:p>
                    <a:r>
                      <a:t>238.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42.81</c:v>
                </c:pt>
                <c:pt idx="1">
                  <c:v>280.19</c:v>
                </c:pt>
                <c:pt idx="2">
                  <c:v>230.57</c:v>
                </c:pt>
                <c:pt idx="3">
                  <c:v>238.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9.3</a:t>
                    </a:r>
                  </a:p>
                </c:rich>
              </c:tx>
              <c:dLblPos val="t"/>
              <c:showLegendKey val="0"/>
              <c:showVal val="1"/>
              <c:showCatName val="0"/>
              <c:showSerName val="0"/>
              <c:showPercent val="0"/>
              <c:showBubbleSize val="0"/>
            </c:dLbl>
            <c:dLbl>
              <c:idx val="1"/>
              <c:tx>
                <c:rich>
                  <a:bodyPr/>
                  <a:lstStyle/>
                  <a:p>
                    <a:r>
                      <a:t>282.37</a:t>
                    </a:r>
                  </a:p>
                </c:rich>
              </c:tx>
              <c:dLblPos val="t"/>
              <c:showLegendKey val="0"/>
              <c:showVal val="1"/>
              <c:showCatName val="0"/>
              <c:showSerName val="0"/>
              <c:showPercent val="0"/>
              <c:showBubbleSize val="0"/>
            </c:dLbl>
            <c:dLbl>
              <c:idx val="2"/>
              <c:tx>
                <c:rich>
                  <a:bodyPr/>
                  <a:lstStyle/>
                  <a:p>
                    <a:r>
                      <a:t>258.13</a:t>
                    </a:r>
                  </a:p>
                </c:rich>
              </c:tx>
              <c:dLblPos val="t"/>
              <c:showLegendKey val="0"/>
              <c:showVal val="1"/>
              <c:showCatName val="0"/>
              <c:showSerName val="0"/>
              <c:showPercent val="0"/>
              <c:showBubbleSize val="0"/>
            </c:dLbl>
            <c:dLbl>
              <c:idx val="3"/>
              <c:tx>
                <c:rich>
                  <a:bodyPr/>
                  <a:lstStyle/>
                  <a:p>
                    <a:r>
                      <a:t>242.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9.3</c:v>
                </c:pt>
                <c:pt idx="1">
                  <c:v>282.37</c:v>
                </c:pt>
                <c:pt idx="2">
                  <c:v>258.13</c:v>
                </c:pt>
                <c:pt idx="3">
                  <c:v>24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Antioxidant Sunscreen Adults Cosmetics Liquido 50+ 50Ml</c:v>
                </c:pt>
              </c:strCache>
            </c:strRef>
          </c:cat>
          <c:val>
            <c:numRef>
              <c:f>Sheet1!$B$2:$B$2</c:f>
              <c:numCache>
                <c:formatCode>General</c:formatCode>
                <c:ptCount val="1"/>
                <c:pt idx="0">
                  <c:v>36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47</a:t>
                    </a:r>
                  </a:p>
                </c:rich>
              </c:tx>
              <c:dLblPos val="t"/>
              <c:showLegendKey val="0"/>
              <c:showVal val="1"/>
              <c:showCatName val="0"/>
              <c:showSerName val="0"/>
              <c:showPercent val="0"/>
              <c:showBubbleSize val="0"/>
            </c:dLbl>
            <c:dLbl>
              <c:idx val="1"/>
              <c:tx>
                <c:rich>
                  <a:bodyPr/>
                  <a:lstStyle/>
                  <a:p>
                    <a:r>
                      <a:t>278.73</a:t>
                    </a:r>
                  </a:p>
                </c:rich>
              </c:tx>
              <c:dLblPos val="t"/>
              <c:showLegendKey val="0"/>
              <c:showVal val="1"/>
              <c:showCatName val="0"/>
              <c:showSerName val="0"/>
              <c:showPercent val="0"/>
              <c:showBubbleSize val="0"/>
            </c:dLbl>
            <c:dLbl>
              <c:idx val="2"/>
              <c:tx>
                <c:rich>
                  <a:bodyPr/>
                  <a:lstStyle/>
                  <a:p>
                    <a:r>
                      <a:t>251.42</a:t>
                    </a:r>
                  </a:p>
                </c:rich>
              </c:tx>
              <c:dLblPos val="t"/>
              <c:showLegendKey val="0"/>
              <c:showVal val="1"/>
              <c:showCatName val="0"/>
              <c:showSerName val="0"/>
              <c:showPercent val="0"/>
              <c:showBubbleSize val="0"/>
            </c:dLbl>
            <c:dLbl>
              <c:idx val="3"/>
              <c:tx>
                <c:rich>
                  <a:bodyPr/>
                  <a:lstStyle/>
                  <a:p>
                    <a:r>
                      <a:t>242.1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5.47</c:v>
                </c:pt>
                <c:pt idx="1">
                  <c:v>278.73</c:v>
                </c:pt>
                <c:pt idx="2">
                  <c:v>251.42</c:v>
                </c:pt>
                <c:pt idx="3">
                  <c:v>24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9</a:t>
                    </a:r>
                  </a:p>
                </c:rich>
              </c:tx>
              <c:dLblPos val="t"/>
              <c:showLegendKey val="0"/>
              <c:showVal val="1"/>
              <c:showCatName val="0"/>
              <c:showSerName val="0"/>
              <c:showPercent val="0"/>
              <c:showBubbleSize val="0"/>
            </c:dLbl>
            <c:dLbl>
              <c:idx val="1"/>
              <c:tx>
                <c:rich>
                  <a:bodyPr/>
                  <a:lstStyle/>
                  <a:p>
                    <a:r>
                      <a:t>286.0</a:t>
                    </a:r>
                  </a:p>
                </c:rich>
              </c:tx>
              <c:dLblPos val="t"/>
              <c:showLegendKey val="0"/>
              <c:showVal val="1"/>
              <c:showCatName val="0"/>
              <c:showSerName val="0"/>
              <c:showPercent val="0"/>
              <c:showBubbleSize val="0"/>
            </c:dLbl>
            <c:dLbl>
              <c:idx val="2"/>
              <c:tx>
                <c:rich>
                  <a:bodyPr/>
                  <a:lstStyle/>
                  <a:p>
                    <a:r>
                      <a:t>312.34</a:t>
                    </a:r>
                  </a:p>
                </c:rich>
              </c:tx>
              <c:dLblPos val="t"/>
              <c:showLegendKey val="0"/>
              <c:showVal val="1"/>
              <c:showCatName val="0"/>
              <c:showSerName val="0"/>
              <c:showPercent val="0"/>
              <c:showBubbleSize val="0"/>
            </c:dLbl>
            <c:dLbl>
              <c:idx val="3"/>
              <c:tx>
                <c:rich>
                  <a:bodyPr/>
                  <a:lstStyle/>
                  <a:p>
                    <a:r>
                      <a:t>294.17</a:t>
                    </a:r>
                  </a:p>
                </c:rich>
              </c:tx>
              <c:dLblPos val="t"/>
              <c:showLegendKey val="0"/>
              <c:showVal val="1"/>
              <c:showCatName val="0"/>
              <c:showSerName val="0"/>
              <c:showPercent val="0"/>
              <c:showBubbleSize val="0"/>
            </c:dLbl>
            <c:dLbl>
              <c:idx val="4"/>
              <c:tx>
                <c:rich>
                  <a:bodyPr/>
                  <a:lstStyle/>
                  <a:p>
                    <a:r>
                      <a:t>104.39</a:t>
                    </a:r>
                  </a:p>
                </c:rich>
              </c:tx>
              <c:dLblPos val="t"/>
              <c:showLegendKey val="0"/>
              <c:showVal val="1"/>
              <c:showCatName val="0"/>
              <c:showSerName val="0"/>
              <c:showPercent val="0"/>
              <c:showBubbleSize val="0"/>
            </c:dLbl>
            <c:dLbl>
              <c:idx val="5"/>
              <c:tx>
                <c:rich>
                  <a:bodyPr/>
                  <a:lstStyle/>
                  <a:p>
                    <a:r>
                      <a:t>290.86</a:t>
                    </a:r>
                  </a:p>
                </c:rich>
              </c:tx>
              <c:dLblPos val="t"/>
              <c:showLegendKey val="0"/>
              <c:showVal val="1"/>
              <c:showCatName val="0"/>
              <c:showSerName val="0"/>
              <c:showPercent val="0"/>
              <c:showBubbleSize val="0"/>
            </c:dLbl>
            <c:dLbl>
              <c:idx val="6"/>
              <c:tx>
                <c:rich>
                  <a:bodyPr/>
                  <a:lstStyle/>
                  <a:p>
                    <a:r>
                      <a:t>92.37</a:t>
                    </a:r>
                  </a:p>
                </c:rich>
              </c:tx>
              <c:dLblPos val="t"/>
              <c:showLegendKey val="0"/>
              <c:showVal val="1"/>
              <c:showCatName val="0"/>
              <c:showSerName val="0"/>
              <c:showPercent val="0"/>
              <c:showBubbleSize val="0"/>
            </c:dLbl>
            <c:dLbl>
              <c:idx val="7"/>
              <c:tx>
                <c:rich>
                  <a:bodyPr/>
                  <a:lstStyle/>
                  <a:p>
                    <a:r>
                      <a:t>282.91</a:t>
                    </a:r>
                  </a:p>
                </c:rich>
              </c:tx>
              <c:dLblPos val="t"/>
              <c:showLegendKey val="0"/>
              <c:showVal val="1"/>
              <c:showCatName val="0"/>
              <c:showSerName val="0"/>
              <c:showPercent val="0"/>
              <c:showBubbleSize val="0"/>
            </c:dLbl>
            <c:dLbl>
              <c:idx val="8"/>
              <c:tx>
                <c:rich>
                  <a:bodyPr/>
                  <a:lstStyle/>
                  <a:p>
                    <a:r>
                      <a:t>294.84</a:t>
                    </a:r>
                  </a:p>
                </c:rich>
              </c:tx>
              <c:dLblPos val="t"/>
              <c:showLegendKey val="0"/>
              <c:showVal val="1"/>
              <c:showCatName val="0"/>
              <c:showSerName val="0"/>
              <c:showPercent val="0"/>
              <c:showBubbleSize val="0"/>
            </c:dLbl>
            <c:dLbl>
              <c:idx val="9"/>
              <c:tx>
                <c:rich>
                  <a:bodyPr/>
                  <a:lstStyle/>
                  <a:p>
                    <a:r>
                      <a:t>287.44</a:t>
                    </a:r>
                  </a:p>
                </c:rich>
              </c:tx>
              <c:dLblPos val="t"/>
              <c:showLegendKey val="0"/>
              <c:showVal val="1"/>
              <c:showCatName val="0"/>
              <c:showSerName val="0"/>
              <c:showPercent val="0"/>
              <c:showBubbleSize val="0"/>
            </c:dLbl>
            <c:dLbl>
              <c:idx val="10"/>
              <c:tx>
                <c:rich>
                  <a:bodyPr/>
                  <a:lstStyle/>
                  <a:p>
                    <a:r>
                      <a:t>188.49</a:t>
                    </a:r>
                  </a:p>
                </c:rich>
              </c:tx>
              <c:dLblPos val="t"/>
              <c:showLegendKey val="0"/>
              <c:showVal val="1"/>
              <c:showCatName val="0"/>
              <c:showSerName val="0"/>
              <c:showPercent val="0"/>
              <c:showBubbleSize val="0"/>
            </c:dLbl>
            <c:dLbl>
              <c:idx val="11"/>
              <c:tx>
                <c:rich>
                  <a:bodyPr/>
                  <a:lstStyle/>
                  <a:p>
                    <a:r>
                      <a:t>101.82</a:t>
                    </a:r>
                  </a:p>
                </c:rich>
              </c:tx>
              <c:dLblPos val="t"/>
              <c:showLegendKey val="0"/>
              <c:showVal val="1"/>
              <c:showCatName val="0"/>
              <c:showSerName val="0"/>
              <c:showPercent val="0"/>
              <c:showBubbleSize val="0"/>
            </c:dLbl>
            <c:dLbl>
              <c:idx val="12"/>
              <c:tx>
                <c:rich>
                  <a:bodyPr/>
                  <a:lstStyle/>
                  <a:p>
                    <a:r>
                      <a:t>289.72</a:t>
                    </a:r>
                  </a:p>
                </c:rich>
              </c:tx>
              <c:dLblPos val="t"/>
              <c:showLegendKey val="0"/>
              <c:showVal val="1"/>
              <c:showCatName val="0"/>
              <c:showSerName val="0"/>
              <c:showPercent val="0"/>
              <c:showBubbleSize val="0"/>
            </c:dLbl>
            <c:dLbl>
              <c:idx val="13"/>
              <c:tx>
                <c:rich>
                  <a:bodyPr/>
                  <a:lstStyle/>
                  <a:p>
                    <a:r>
                      <a:t>184.24</a:t>
                    </a:r>
                  </a:p>
                </c:rich>
              </c:tx>
              <c:dLblPos val="t"/>
              <c:showLegendKey val="0"/>
              <c:showVal val="1"/>
              <c:showCatName val="0"/>
              <c:showSerName val="0"/>
              <c:showPercent val="0"/>
              <c:showBubbleSize val="0"/>
            </c:dLbl>
            <c:dLbl>
              <c:idx val="14"/>
              <c:tx>
                <c:rich>
                  <a:bodyPr/>
                  <a:lstStyle/>
                  <a:p>
                    <a:r>
                      <a:t>274.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Island Sport Sunscreen Adults Sport Spray Liquido 50 220Ml</c:v>
                </c:pt>
                <c:pt idx="3">
                  <c:v>Edgewell Hawaiian Tropic Ozono Sunscreen Adults Cosmetics Spray Liquido 50+ 180Ml</c:v>
                </c:pt>
                <c:pt idx="4">
                  <c:v>Edgewell Hawaiian Tropic Ozono Sunscreen Adults Cosmetics Liquido 50+ 90Ml</c:v>
                </c:pt>
                <c:pt idx="5">
                  <c:v>Edgewell Hawaiian Tropic Silk Hydration Sunscreen Adults Cosmetics Liquido 50 180Ml</c:v>
                </c:pt>
                <c:pt idx="6">
                  <c:v>Edgewell Hawaiian Tropic Island Sport Sunscreen Adults Sport Liquido 50 60Ml</c:v>
                </c:pt>
                <c:pt idx="7">
                  <c:v>Edgewell Hawaiian Tropic Tanning Sunscreen Adults Cosmetics Spray Liquido 15 - 19 220Ml</c:v>
                </c:pt>
                <c:pt idx="8">
                  <c:v>Edgewell Hawaiian Tropic Silk Hydration Sunscreen Adults Cosmetics Spray Liquido 50+ 180Ml</c:v>
                </c:pt>
                <c:pt idx="9">
                  <c:v>Edgewell Hawaiian Tropic Ozono Sunscreen Adults Cosmetics Liquido 50+ 180Ml</c:v>
                </c:pt>
                <c:pt idx="10">
                  <c:v>Edgewell Hawaiian Tropic Ozono Sunscreen Adults Cosmetics Liquido 50+ 120Ml</c:v>
                </c:pt>
                <c:pt idx="11">
                  <c:v>Edgewell Hawaiian Tropic Sheer Touch Sunscreen Adults Cosmetics Liquido 30 - 49 60Ml</c:v>
                </c:pt>
                <c:pt idx="12">
                  <c:v>Edgewell Hawaiian Tropic Other Sunscreen Adults Cosmetics Crema 50+ 240Ml</c:v>
                </c:pt>
                <c:pt idx="13">
                  <c:v>Edgewell Hawaiian Tropic Sheer Touch Sunscreen Adults Cosmetics Crema 50 120Ml</c:v>
                </c:pt>
                <c:pt idx="14">
                  <c:v>Edgewell Hawaiian Tropic Sheer Touch Sunscreen Adults Cosmetics Crema 30 - 49 240Ml</c:v>
                </c:pt>
              </c:strCache>
            </c:strRef>
          </c:cat>
          <c:val>
            <c:numRef>
              <c:f>Sheet1!$B$2:$B$16</c:f>
              <c:numCache>
                <c:formatCode>General</c:formatCode>
                <c:ptCount val="15"/>
                <c:pt idx="0">
                  <c:v>286.89</c:v>
                </c:pt>
                <c:pt idx="1">
                  <c:v>286.0</c:v>
                </c:pt>
                <c:pt idx="2">
                  <c:v>312.34</c:v>
                </c:pt>
                <c:pt idx="3">
                  <c:v>294.17</c:v>
                </c:pt>
                <c:pt idx="4">
                  <c:v>104.39</c:v>
                </c:pt>
                <c:pt idx="5">
                  <c:v>290.86</c:v>
                </c:pt>
                <c:pt idx="6">
                  <c:v>92.37</c:v>
                </c:pt>
                <c:pt idx="7">
                  <c:v>282.91</c:v>
                </c:pt>
                <c:pt idx="8">
                  <c:v>294.84</c:v>
                </c:pt>
                <c:pt idx="9">
                  <c:v>287.44</c:v>
                </c:pt>
                <c:pt idx="10">
                  <c:v>188.49</c:v>
                </c:pt>
                <c:pt idx="11">
                  <c:v>101.82</c:v>
                </c:pt>
                <c:pt idx="12">
                  <c:v>289.72</c:v>
                </c:pt>
                <c:pt idx="13">
                  <c:v>184.24</c:v>
                </c:pt>
                <c:pt idx="14">
                  <c:v>274.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91</a:t>
                    </a:r>
                  </a:p>
                </c:rich>
              </c:tx>
              <c:dLblPos val="t"/>
              <c:showLegendKey val="0"/>
              <c:showVal val="1"/>
              <c:showCatName val="0"/>
              <c:showSerName val="0"/>
              <c:showPercent val="0"/>
              <c:showBubbleSize val="0"/>
            </c:dLbl>
            <c:dLbl>
              <c:idx val="1"/>
              <c:tx>
                <c:rich>
                  <a:bodyPr/>
                  <a:lstStyle/>
                  <a:p>
                    <a:r>
                      <a:t>292.61</a:t>
                    </a:r>
                  </a:p>
                </c:rich>
              </c:tx>
              <c:dLblPos val="t"/>
              <c:showLegendKey val="0"/>
              <c:showVal val="1"/>
              <c:showCatName val="0"/>
              <c:showSerName val="0"/>
              <c:showPercent val="0"/>
              <c:showBubbleSize val="0"/>
            </c:dLbl>
            <c:dLbl>
              <c:idx val="2"/>
              <c:tx>
                <c:rich>
                  <a:bodyPr/>
                  <a:lstStyle/>
                  <a:p>
                    <a:r>
                      <a:t>323.42</a:t>
                    </a:r>
                  </a:p>
                </c:rich>
              </c:tx>
              <c:dLblPos val="t"/>
              <c:showLegendKey val="0"/>
              <c:showVal val="1"/>
              <c:showCatName val="0"/>
              <c:showSerName val="0"/>
              <c:showPercent val="0"/>
              <c:showBubbleSize val="0"/>
            </c:dLbl>
            <c:dLbl>
              <c:idx val="3"/>
              <c:tx>
                <c:rich>
                  <a:bodyPr/>
                  <a:lstStyle/>
                  <a:p>
                    <a:r>
                      <a:t>309.18</a:t>
                    </a:r>
                  </a:p>
                </c:rich>
              </c:tx>
              <c:dLblPos val="t"/>
              <c:showLegendKey val="0"/>
              <c:showVal val="1"/>
              <c:showCatName val="0"/>
              <c:showSerName val="0"/>
              <c:showPercent val="0"/>
              <c:showBubbleSize val="0"/>
            </c:dLbl>
            <c:dLbl>
              <c:idx val="4"/>
              <c:tx>
                <c:rich>
                  <a:bodyPr/>
                  <a:lstStyle/>
                  <a:p>
                    <a:r>
                      <a:t>105.11</a:t>
                    </a:r>
                  </a:p>
                </c:rich>
              </c:tx>
              <c:dLblPos val="t"/>
              <c:showLegendKey val="0"/>
              <c:showVal val="1"/>
              <c:showCatName val="0"/>
              <c:showSerName val="0"/>
              <c:showPercent val="0"/>
              <c:showBubbleSize val="0"/>
            </c:dLbl>
            <c:dLbl>
              <c:idx val="5"/>
              <c:tx>
                <c:rich>
                  <a:bodyPr/>
                  <a:lstStyle/>
                  <a:p>
                    <a:r>
                      <a:t>302.74</a:t>
                    </a:r>
                  </a:p>
                </c:rich>
              </c:tx>
              <c:dLblPos val="t"/>
              <c:showLegendKey val="0"/>
              <c:showVal val="1"/>
              <c:showCatName val="0"/>
              <c:showSerName val="0"/>
              <c:showPercent val="0"/>
              <c:showBubbleSize val="0"/>
            </c:dLbl>
            <c:dLbl>
              <c:idx val="6"/>
              <c:tx>
                <c:rich>
                  <a:bodyPr/>
                  <a:lstStyle/>
                  <a:p>
                    <a:r>
                      <a:t>93.35</a:t>
                    </a:r>
                  </a:p>
                </c:rich>
              </c:tx>
              <c:dLblPos val="t"/>
              <c:showLegendKey val="0"/>
              <c:showVal val="1"/>
              <c:showCatName val="0"/>
              <c:showSerName val="0"/>
              <c:showPercent val="0"/>
              <c:showBubbleSize val="0"/>
            </c:dLbl>
            <c:dLbl>
              <c:idx val="7"/>
              <c:tx>
                <c:rich>
                  <a:bodyPr/>
                  <a:lstStyle/>
                  <a:p>
                    <a:r>
                      <a:t>288.86</a:t>
                    </a:r>
                  </a:p>
                </c:rich>
              </c:tx>
              <c:dLblPos val="t"/>
              <c:showLegendKey val="0"/>
              <c:showVal val="1"/>
              <c:showCatName val="0"/>
              <c:showSerName val="0"/>
              <c:showPercent val="0"/>
              <c:showBubbleSize val="0"/>
            </c:dLbl>
            <c:dLbl>
              <c:idx val="8"/>
              <c:tx>
                <c:rich>
                  <a:bodyPr/>
                  <a:lstStyle/>
                  <a:p>
                    <a:r>
                      <a:t>305.21</a:t>
                    </a:r>
                  </a:p>
                </c:rich>
              </c:tx>
              <c:dLblPos val="t"/>
              <c:showLegendKey val="0"/>
              <c:showVal val="1"/>
              <c:showCatName val="0"/>
              <c:showSerName val="0"/>
              <c:showPercent val="0"/>
              <c:showBubbleSize val="0"/>
            </c:dLbl>
            <c:dLbl>
              <c:idx val="9"/>
              <c:tx>
                <c:rich>
                  <a:bodyPr/>
                  <a:lstStyle/>
                  <a:p>
                    <a:r>
                      <a:t>300.66</a:t>
                    </a:r>
                  </a:p>
                </c:rich>
              </c:tx>
              <c:dLblPos val="t"/>
              <c:showLegendKey val="0"/>
              <c:showVal val="1"/>
              <c:showCatName val="0"/>
              <c:showSerName val="0"/>
              <c:showPercent val="0"/>
              <c:showBubbleSize val="0"/>
            </c:dLbl>
            <c:dLbl>
              <c:idx val="10"/>
              <c:tx>
                <c:rich>
                  <a:bodyPr/>
                  <a:lstStyle/>
                  <a:p>
                    <a:r>
                      <a:t>189.33</a:t>
                    </a:r>
                  </a:p>
                </c:rich>
              </c:tx>
              <c:dLblPos val="t"/>
              <c:showLegendKey val="0"/>
              <c:showVal val="1"/>
              <c:showCatName val="0"/>
              <c:showSerName val="0"/>
              <c:showPercent val="0"/>
              <c:showBubbleSize val="0"/>
            </c:dLbl>
            <c:dLbl>
              <c:idx val="11"/>
              <c:tx>
                <c:rich>
                  <a:bodyPr/>
                  <a:lstStyle/>
                  <a:p>
                    <a:r>
                      <a:t>98.92</a:t>
                    </a:r>
                  </a:p>
                </c:rich>
              </c:tx>
              <c:dLblPos val="t"/>
              <c:showLegendKey val="0"/>
              <c:showVal val="1"/>
              <c:showCatName val="0"/>
              <c:showSerName val="0"/>
              <c:showPercent val="0"/>
              <c:showBubbleSize val="0"/>
            </c:dLbl>
            <c:dLbl>
              <c:idx val="12"/>
              <c:tx>
                <c:rich>
                  <a:bodyPr/>
                  <a:lstStyle/>
                  <a:p>
                    <a:r>
                      <a:t>295.5</a:t>
                    </a:r>
                  </a:p>
                </c:rich>
              </c:tx>
              <c:dLblPos val="t"/>
              <c:showLegendKey val="0"/>
              <c:showVal val="1"/>
              <c:showCatName val="0"/>
              <c:showSerName val="0"/>
              <c:showPercent val="0"/>
              <c:showBubbleSize val="0"/>
            </c:dLbl>
            <c:dLbl>
              <c:idx val="13"/>
              <c:tx>
                <c:rich>
                  <a:bodyPr/>
                  <a:lstStyle/>
                  <a:p>
                    <a:r>
                      <a:t>185.59</a:t>
                    </a:r>
                  </a:p>
                </c:rich>
              </c:tx>
              <c:dLblPos val="t"/>
              <c:showLegendKey val="0"/>
              <c:showVal val="1"/>
              <c:showCatName val="0"/>
              <c:showSerName val="0"/>
              <c:showPercent val="0"/>
              <c:showBubbleSize val="0"/>
            </c:dLbl>
            <c:dLbl>
              <c:idx val="14"/>
              <c:tx>
                <c:rich>
                  <a:bodyPr/>
                  <a:lstStyle/>
                  <a:p>
                    <a:r>
                      <a:t>282.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Island Sport Sunscreen Adults Sport Spray Liquido 50 220Ml</c:v>
                </c:pt>
                <c:pt idx="3">
                  <c:v>Edgewell Hawaiian Tropic Ozono Sunscreen Adults Cosmetics Spray Liquido 50+ 180Ml</c:v>
                </c:pt>
                <c:pt idx="4">
                  <c:v>Edgewell Hawaiian Tropic Ozono Sunscreen Adults Cosmetics Liquido 50+ 90Ml</c:v>
                </c:pt>
                <c:pt idx="5">
                  <c:v>Edgewell Hawaiian Tropic Silk Hydration Sunscreen Adults Cosmetics Liquido 50 180Ml</c:v>
                </c:pt>
                <c:pt idx="6">
                  <c:v>Edgewell Hawaiian Tropic Island Sport Sunscreen Adults Sport Liquido 50 60Ml</c:v>
                </c:pt>
                <c:pt idx="7">
                  <c:v>Edgewell Hawaiian Tropic Tanning Sunscreen Adults Cosmetics Spray Liquido 15 - 19 220Ml</c:v>
                </c:pt>
                <c:pt idx="8">
                  <c:v>Edgewell Hawaiian Tropic Silk Hydration Sunscreen Adults Cosmetics Spray Liquido 50+ 180Ml</c:v>
                </c:pt>
                <c:pt idx="9">
                  <c:v>Edgewell Hawaiian Tropic Ozono Sunscreen Adults Cosmetics Liquido 50+ 180Ml</c:v>
                </c:pt>
                <c:pt idx="10">
                  <c:v>Edgewell Hawaiian Tropic Ozono Sunscreen Adults Cosmetics Liquido 50+ 120Ml</c:v>
                </c:pt>
                <c:pt idx="11">
                  <c:v>Edgewell Hawaiian Tropic Sheer Touch Sunscreen Adults Cosmetics Liquido 30 - 49 60Ml</c:v>
                </c:pt>
                <c:pt idx="12">
                  <c:v>Edgewell Hawaiian Tropic Other Sunscreen Adults Cosmetics Crema 50+ 240Ml</c:v>
                </c:pt>
                <c:pt idx="13">
                  <c:v>Edgewell Hawaiian Tropic Sheer Touch Sunscreen Adults Cosmetics Crema 50 120Ml</c:v>
                </c:pt>
                <c:pt idx="14">
                  <c:v>Edgewell Hawaiian Tropic Sheer Touch Sunscreen Adults Cosmetics Crema 30 - 49 240Ml</c:v>
                </c:pt>
              </c:strCache>
            </c:strRef>
          </c:cat>
          <c:val>
            <c:numRef>
              <c:f>Sheet1!$B$2:$B$16</c:f>
              <c:numCache>
                <c:formatCode>General</c:formatCode>
                <c:ptCount val="15"/>
                <c:pt idx="0">
                  <c:v>291.91</c:v>
                </c:pt>
                <c:pt idx="1">
                  <c:v>292.61</c:v>
                </c:pt>
                <c:pt idx="2">
                  <c:v>323.42</c:v>
                </c:pt>
                <c:pt idx="3">
                  <c:v>309.18</c:v>
                </c:pt>
                <c:pt idx="4">
                  <c:v>105.11</c:v>
                </c:pt>
                <c:pt idx="5">
                  <c:v>302.74</c:v>
                </c:pt>
                <c:pt idx="6">
                  <c:v>93.35</c:v>
                </c:pt>
                <c:pt idx="7">
                  <c:v>288.86</c:v>
                </c:pt>
                <c:pt idx="8">
                  <c:v>305.21</c:v>
                </c:pt>
                <c:pt idx="9">
                  <c:v>300.66</c:v>
                </c:pt>
                <c:pt idx="10">
                  <c:v>189.33</c:v>
                </c:pt>
                <c:pt idx="11">
                  <c:v>98.92</c:v>
                </c:pt>
                <c:pt idx="12">
                  <c:v>295.5</c:v>
                </c:pt>
                <c:pt idx="13">
                  <c:v>185.59</c:v>
                </c:pt>
                <c:pt idx="14">
                  <c:v>282.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97</a:t>
                    </a:r>
                  </a:p>
                </c:rich>
              </c:tx>
              <c:dLblPos val="t"/>
              <c:showLegendKey val="0"/>
              <c:showVal val="1"/>
              <c:showCatName val="0"/>
              <c:showSerName val="0"/>
              <c:showPercent val="0"/>
              <c:showBubbleSize val="0"/>
            </c:dLbl>
            <c:dLbl>
              <c:idx val="1"/>
              <c:tx>
                <c:rich>
                  <a:bodyPr/>
                  <a:lstStyle/>
                  <a:p>
                    <a:r>
                      <a:t>338.35</a:t>
                    </a:r>
                  </a:p>
                </c:rich>
              </c:tx>
              <c:dLblPos val="t"/>
              <c:showLegendKey val="0"/>
              <c:showVal val="1"/>
              <c:showCatName val="0"/>
              <c:showSerName val="0"/>
              <c:showPercent val="0"/>
              <c:showBubbleSize val="0"/>
            </c:dLbl>
            <c:dLbl>
              <c:idx val="2"/>
              <c:tx>
                <c:rich>
                  <a:bodyPr/>
                  <a:lstStyle/>
                  <a:p>
                    <a:r>
                      <a:t>322.45</a:t>
                    </a:r>
                  </a:p>
                </c:rich>
              </c:tx>
              <c:dLblPos val="t"/>
              <c:showLegendKey val="0"/>
              <c:showVal val="1"/>
              <c:showCatName val="0"/>
              <c:showSerName val="0"/>
              <c:showPercent val="0"/>
              <c:showBubbleSize val="0"/>
            </c:dLbl>
            <c:dLbl>
              <c:idx val="3"/>
              <c:tx>
                <c:rich>
                  <a:bodyPr/>
                  <a:lstStyle/>
                  <a:p>
                    <a:r>
                      <a:t>313.29</a:t>
                    </a:r>
                  </a:p>
                </c:rich>
              </c:tx>
              <c:dLblPos val="t"/>
              <c:showLegendKey val="0"/>
              <c:showVal val="1"/>
              <c:showCatName val="0"/>
              <c:showSerName val="0"/>
              <c:showPercent val="0"/>
              <c:showBubbleSize val="0"/>
            </c:dLbl>
            <c:dLbl>
              <c:idx val="4"/>
              <c:tx>
                <c:rich>
                  <a:bodyPr/>
                  <a:lstStyle/>
                  <a:p>
                    <a:r>
                      <a:t>314.03</a:t>
                    </a:r>
                  </a:p>
                </c:rich>
              </c:tx>
              <c:dLblPos val="t"/>
              <c:showLegendKey val="0"/>
              <c:showVal val="1"/>
              <c:showCatName val="0"/>
              <c:showSerName val="0"/>
              <c:showPercent val="0"/>
              <c:showBubbleSize val="0"/>
            </c:dLbl>
            <c:dLbl>
              <c:idx val="5"/>
              <c:tx>
                <c:rich>
                  <a:bodyPr/>
                  <a:lstStyle/>
                  <a:p>
                    <a:r>
                      <a:t>89.43</a:t>
                    </a:r>
                  </a:p>
                </c:rich>
              </c:tx>
              <c:dLblPos val="t"/>
              <c:showLegendKey val="0"/>
              <c:showVal val="1"/>
              <c:showCatName val="0"/>
              <c:showSerName val="0"/>
              <c:showPercent val="0"/>
              <c:showBubbleSize val="0"/>
            </c:dLbl>
            <c:dLbl>
              <c:idx val="6"/>
              <c:tx>
                <c:rich>
                  <a:bodyPr/>
                  <a:lstStyle/>
                  <a:p>
                    <a:r>
                      <a:t>383.56</a:t>
                    </a:r>
                  </a:p>
                </c:rich>
              </c:tx>
              <c:dLblPos val="t"/>
              <c:showLegendKey val="0"/>
              <c:showVal val="1"/>
              <c:showCatName val="0"/>
              <c:showSerName val="0"/>
              <c:showPercent val="0"/>
              <c:showBubbleSize val="0"/>
            </c:dLbl>
            <c:dLbl>
              <c:idx val="7"/>
              <c:tx>
                <c:rich>
                  <a:bodyPr/>
                  <a:lstStyle/>
                  <a:p>
                    <a:r>
                      <a:t>272.04</a:t>
                    </a:r>
                  </a:p>
                </c:rich>
              </c:tx>
              <c:dLblPos val="t"/>
              <c:showLegendKey val="0"/>
              <c:showVal val="1"/>
              <c:showCatName val="0"/>
              <c:showSerName val="0"/>
              <c:showPercent val="0"/>
              <c:showBubbleSize val="0"/>
            </c:dLbl>
            <c:dLbl>
              <c:idx val="8"/>
              <c:tx>
                <c:rich>
                  <a:bodyPr/>
                  <a:lstStyle/>
                  <a:p>
                    <a:r>
                      <a:t>265.35</a:t>
                    </a:r>
                  </a:p>
                </c:rich>
              </c:tx>
              <c:dLblPos val="t"/>
              <c:showLegendKey val="0"/>
              <c:showVal val="1"/>
              <c:showCatName val="0"/>
              <c:showSerName val="0"/>
              <c:showPercent val="0"/>
              <c:showBubbleSize val="0"/>
            </c:dLbl>
            <c:dLbl>
              <c:idx val="9"/>
              <c:tx>
                <c:rich>
                  <a:bodyPr/>
                  <a:lstStyle/>
                  <a:p>
                    <a:r>
                      <a:t>306.68</a:t>
                    </a:r>
                  </a:p>
                </c:rich>
              </c:tx>
              <c:dLblPos val="t"/>
              <c:showLegendKey val="0"/>
              <c:showVal val="1"/>
              <c:showCatName val="0"/>
              <c:showSerName val="0"/>
              <c:showPercent val="0"/>
              <c:showBubbleSize val="0"/>
            </c:dLbl>
            <c:dLbl>
              <c:idx val="10"/>
              <c:tx>
                <c:rich>
                  <a:bodyPr/>
                  <a:lstStyle/>
                  <a:p>
                    <a:r>
                      <a:t>250.9</a:t>
                    </a:r>
                  </a:p>
                </c:rich>
              </c:tx>
              <c:dLblPos val="t"/>
              <c:showLegendKey val="0"/>
              <c:showVal val="1"/>
              <c:showCatName val="0"/>
              <c:showSerName val="0"/>
              <c:showPercent val="0"/>
              <c:showBubbleSize val="0"/>
            </c:dLbl>
            <c:dLbl>
              <c:idx val="11"/>
              <c:tx>
                <c:rich>
                  <a:bodyPr/>
                  <a:lstStyle/>
                  <a:p>
                    <a:r>
                      <a:t>128.97</a:t>
                    </a:r>
                  </a:p>
                </c:rich>
              </c:tx>
              <c:dLblPos val="t"/>
              <c:showLegendKey val="0"/>
              <c:showVal val="1"/>
              <c:showCatName val="0"/>
              <c:showSerName val="0"/>
              <c:showPercent val="0"/>
              <c:showBubbleSize val="0"/>
            </c:dLbl>
            <c:dLbl>
              <c:idx val="12"/>
              <c:tx>
                <c:rich>
                  <a:bodyPr/>
                  <a:lstStyle/>
                  <a:p>
                    <a:r>
                      <a:t>94.41</a:t>
                    </a:r>
                  </a:p>
                </c:rich>
              </c:tx>
              <c:dLblPos val="t"/>
              <c:showLegendKey val="0"/>
              <c:showVal val="1"/>
              <c:showCatName val="0"/>
              <c:showSerName val="0"/>
              <c:showPercent val="0"/>
              <c:showBubbleSize val="0"/>
            </c:dLbl>
            <c:dLbl>
              <c:idx val="13"/>
              <c:tx>
                <c:rich>
                  <a:bodyPr/>
                  <a:lstStyle/>
                  <a:p>
                    <a:r>
                      <a:t>303.93</a:t>
                    </a:r>
                  </a:p>
                </c:rich>
              </c:tx>
              <c:dLblPos val="t"/>
              <c:showLegendKey val="0"/>
              <c:showVal val="1"/>
              <c:showCatName val="0"/>
              <c:showSerName val="0"/>
              <c:showPercent val="0"/>
              <c:showBubbleSize val="0"/>
            </c:dLbl>
            <c:dLbl>
              <c:idx val="14"/>
              <c:tx>
                <c:rich>
                  <a:bodyPr/>
                  <a:lstStyle/>
                  <a:p>
                    <a:r>
                      <a:t>186.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Spray Liquido 50 220Ml</c:v>
                </c:pt>
                <c:pt idx="2">
                  <c:v>Edgewell Hawaiian Tropic Island Sport Sunscreen Adults Sport Liquido 50 240Ml</c:v>
                </c:pt>
                <c:pt idx="3">
                  <c:v>Edgewell Hawaiian Tropic Ozono Sunscreen Adults Cosmetics Spray Liquido 50+ 180Ml</c:v>
                </c:pt>
                <c:pt idx="4">
                  <c:v>Edgewell Hawaiian Tropic Tanning Sunscreen Adults Cosmetics Spray Liquido 15 - 19 220Ml</c:v>
                </c:pt>
                <c:pt idx="5">
                  <c:v>Edgewell Hawaiian Tropic Island Sport Sunscreen Adults Sport Liquido 50 60Ml</c:v>
                </c:pt>
                <c:pt idx="6">
                  <c:v>Edgewell Hawaiian Tropic Silk Hydration Sunscreen Adults Cosmetics Liquido 50 180Ml</c:v>
                </c:pt>
                <c:pt idx="7">
                  <c:v>Edgewell Hawaiian Tropic Silk Hydration Sunscreen Adults Cosmetics Spray Liquido 50 150Ml</c:v>
                </c:pt>
                <c:pt idx="8">
                  <c:v>Edgewell Hawaiian Tropic Silk Hydration Sunscreen Adults Cosmetics Spray Liquido 50+ 180Ml</c:v>
                </c:pt>
                <c:pt idx="9">
                  <c:v>Edgewell Hawaiian Tropic Ozono Sunscreen Adults Cosmetics Liquido 50+ 180Ml</c:v>
                </c:pt>
                <c:pt idx="10">
                  <c:v>Edgewell Hawaiian Tropic Carrot Sunscreen Adults Cosmetics Spray Liquido 30 - 49 177Ml</c:v>
                </c:pt>
                <c:pt idx="11">
                  <c:v>Edgewell Hawaiian Tropic Ozono Sunscreen Adults Cosmetics Liquido 50+ 90Ml</c:v>
                </c:pt>
                <c:pt idx="12">
                  <c:v>Edgewell Hawaiian Tropic Sheer Touch Sunscreen Adults Cosmetics Liquido 30 - 49 60Ml</c:v>
                </c:pt>
                <c:pt idx="13">
                  <c:v>Edgewell Hawaiian Tropic Other Sunscreen Adults Cosmetics Crema 50+ 240Ml</c:v>
                </c:pt>
                <c:pt idx="14">
                  <c:v>Edgewell Hawaiian Tropic Sheer Touch Sunscreen Adults Cosmetics Crema 50 120Ml</c:v>
                </c:pt>
              </c:strCache>
            </c:strRef>
          </c:cat>
          <c:val>
            <c:numRef>
              <c:f>Sheet1!$B$2:$B$16</c:f>
              <c:numCache>
                <c:formatCode>General</c:formatCode>
                <c:ptCount val="15"/>
                <c:pt idx="0">
                  <c:v>308.97</c:v>
                </c:pt>
                <c:pt idx="1">
                  <c:v>338.35</c:v>
                </c:pt>
                <c:pt idx="2">
                  <c:v>322.45</c:v>
                </c:pt>
                <c:pt idx="3">
                  <c:v>313.29</c:v>
                </c:pt>
                <c:pt idx="4">
                  <c:v>314.03</c:v>
                </c:pt>
                <c:pt idx="5">
                  <c:v>89.43</c:v>
                </c:pt>
                <c:pt idx="6">
                  <c:v>383.56</c:v>
                </c:pt>
                <c:pt idx="7">
                  <c:v>272.04</c:v>
                </c:pt>
                <c:pt idx="8">
                  <c:v>265.35</c:v>
                </c:pt>
                <c:pt idx="9">
                  <c:v>306.68</c:v>
                </c:pt>
                <c:pt idx="10">
                  <c:v>250.9</c:v>
                </c:pt>
                <c:pt idx="11">
                  <c:v>128.97</c:v>
                </c:pt>
                <c:pt idx="12">
                  <c:v>94.41</c:v>
                </c:pt>
                <c:pt idx="13">
                  <c:v>303.93</c:v>
                </c:pt>
                <c:pt idx="14">
                  <c:v>186.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3.23</a:t>
                    </a:r>
                  </a:p>
                </c:rich>
              </c:tx>
              <c:dLblPos val="t"/>
              <c:showLegendKey val="0"/>
              <c:showVal val="1"/>
              <c:showCatName val="0"/>
              <c:showSerName val="0"/>
              <c:showPercent val="0"/>
              <c:showBubbleSize val="0"/>
            </c:dLbl>
            <c:dLbl>
              <c:idx val="1"/>
              <c:tx>
                <c:rich>
                  <a:bodyPr/>
                  <a:lstStyle/>
                  <a:p>
                    <a:r>
                      <a:t>281.29</a:t>
                    </a:r>
                  </a:p>
                </c:rich>
              </c:tx>
              <c:dLblPos val="t"/>
              <c:showLegendKey val="0"/>
              <c:showVal val="1"/>
              <c:showCatName val="0"/>
              <c:showSerName val="0"/>
              <c:showPercent val="0"/>
              <c:showBubbleSize val="0"/>
            </c:dLbl>
            <c:dLbl>
              <c:idx val="2"/>
              <c:tx>
                <c:rich>
                  <a:bodyPr/>
                  <a:lstStyle/>
                  <a:p>
                    <a:r>
                      <a:t>72.25</a:t>
                    </a:r>
                  </a:p>
                </c:rich>
              </c:tx>
              <c:dLblPos val="t"/>
              <c:showLegendKey val="0"/>
              <c:showVal val="1"/>
              <c:showCatName val="0"/>
              <c:showSerName val="0"/>
              <c:showPercent val="0"/>
              <c:showBubbleSize val="0"/>
            </c:dLbl>
            <c:dLbl>
              <c:idx val="3"/>
              <c:tx>
                <c:rich>
                  <a:bodyPr/>
                  <a:lstStyle/>
                  <a:p>
                    <a:r>
                      <a:t>247.96</a:t>
                    </a:r>
                  </a:p>
                </c:rich>
              </c:tx>
              <c:dLblPos val="t"/>
              <c:showLegendKey val="0"/>
              <c:showVal val="1"/>
              <c:showCatName val="0"/>
              <c:showSerName val="0"/>
              <c:showPercent val="0"/>
              <c:showBubbleSize val="0"/>
            </c:dLbl>
            <c:dLbl>
              <c:idx val="4"/>
              <c:tx>
                <c:rich>
                  <a:bodyPr/>
                  <a:lstStyle/>
                  <a:p>
                    <a:r>
                      <a:t>133.0</a:t>
                    </a:r>
                  </a:p>
                </c:rich>
              </c:tx>
              <c:dLblPos val="t"/>
              <c:showLegendKey val="0"/>
              <c:showVal val="1"/>
              <c:showCatName val="0"/>
              <c:showSerName val="0"/>
              <c:showPercent val="0"/>
              <c:showBubbleSize val="0"/>
            </c:dLbl>
            <c:dLbl>
              <c:idx val="5"/>
              <c:tx>
                <c:rich>
                  <a:bodyPr/>
                  <a:lstStyle/>
                  <a:p>
                    <a:r>
                      <a:t>220.0</a:t>
                    </a:r>
                  </a:p>
                </c:rich>
              </c:tx>
              <c:dLblPos val="t"/>
              <c:showLegendKey val="0"/>
              <c:showVal val="1"/>
              <c:showCatName val="0"/>
              <c:showSerName val="0"/>
              <c:showPercent val="0"/>
              <c:showBubbleSize val="0"/>
            </c:dLbl>
            <c:dLbl>
              <c:idx val="6"/>
              <c:tx>
                <c:rich>
                  <a:bodyPr/>
                  <a:lstStyle/>
                  <a:p>
                    <a:r>
                      <a:t>279.12</a:t>
                    </a:r>
                  </a:p>
                </c:rich>
              </c:tx>
              <c:dLblPos val="t"/>
              <c:showLegendKey val="0"/>
              <c:showVal val="1"/>
              <c:showCatName val="0"/>
              <c:showSerName val="0"/>
              <c:showPercent val="0"/>
              <c:showBubbleSize val="0"/>
            </c:dLbl>
            <c:dLbl>
              <c:idx val="7"/>
              <c:tx>
                <c:rich>
                  <a:bodyPr/>
                  <a:lstStyle/>
                  <a:p>
                    <a:r>
                      <a:t>88.0</a:t>
                    </a:r>
                  </a:p>
                </c:rich>
              </c:tx>
              <c:dLblPos val="t"/>
              <c:showLegendKey val="0"/>
              <c:showVal val="1"/>
              <c:showCatName val="0"/>
              <c:showSerName val="0"/>
              <c:showPercent val="0"/>
              <c:showBubbleSize val="0"/>
            </c:dLbl>
            <c:dLbl>
              <c:idx val="8"/>
              <c:tx>
                <c:rich>
                  <a:bodyPr/>
                  <a:lstStyle/>
                  <a:p>
                    <a:r>
                      <a:t>235.9</a:t>
                    </a:r>
                  </a:p>
                </c:rich>
              </c:tx>
              <c:dLblPos val="t"/>
              <c:showLegendKey val="0"/>
              <c:showVal val="1"/>
              <c:showCatName val="0"/>
              <c:showSerName val="0"/>
              <c:showPercent val="0"/>
              <c:showBubbleSize val="0"/>
            </c:dLbl>
            <c:dLbl>
              <c:idx val="9"/>
              <c:tx>
                <c:rich>
                  <a:bodyPr/>
                  <a:lstStyle/>
                  <a:p>
                    <a:r>
                      <a:t>250.75</a:t>
                    </a:r>
                  </a:p>
                </c:rich>
              </c:tx>
              <c:dLblPos val="t"/>
              <c:showLegendKey val="0"/>
              <c:showVal val="1"/>
              <c:showCatName val="0"/>
              <c:showSerName val="0"/>
              <c:showPercent val="0"/>
              <c:showBubbleSize val="0"/>
            </c:dLbl>
            <c:dLbl>
              <c:idx val="10"/>
              <c:tx>
                <c:rich>
                  <a:bodyPr/>
                  <a:lstStyle/>
                  <a:p>
                    <a:r>
                      <a:t>218.42</a:t>
                    </a:r>
                  </a:p>
                </c:rich>
              </c:tx>
              <c:dLblPos val="t"/>
              <c:showLegendKey val="0"/>
              <c:showVal val="1"/>
              <c:showCatName val="0"/>
              <c:showSerName val="0"/>
              <c:showPercent val="0"/>
              <c:showBubbleSize val="0"/>
            </c:dLbl>
            <c:dLbl>
              <c:idx val="11"/>
              <c:tx>
                <c:rich>
                  <a:bodyPr/>
                  <a:lstStyle/>
                  <a:p>
                    <a:r>
                      <a:t>258.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Hawaiian Tropic Island Sport Sunscreen Adults Sport Liquido 50 240Ml</c:v>
                </c:pt>
                <c:pt idx="1">
                  <c:v>Edgewell Hawaiian Tropic Ozono Sunscreen Adults Cosmetics Liquido 50+ 180Ml</c:v>
                </c:pt>
                <c:pt idx="2">
                  <c:v>Edgewell Hawaiian Tropic Island Sport Sunscreen Adults Sport Liquido 50 60Ml</c:v>
                </c:pt>
                <c:pt idx="3">
                  <c:v>Edgewell Hawaiian Tropic Ozono Sunscreen Adults Cosmetics Liquido 50+ 240Ml</c:v>
                </c:pt>
                <c:pt idx="4">
                  <c:v>Edgewell Hawaiian Tropic Sheer Touch Sunscreen Adults Cosmetics Liquido 30 - 49 60Ml</c:v>
                </c:pt>
                <c:pt idx="5">
                  <c:v>Edgewell Hawaiian Tropic Island Sport Sunscreen Adults Sport Spray Liquido 50 220Ml</c:v>
                </c:pt>
                <c:pt idx="6">
                  <c:v>Edgewell Hawaiian Tropic Ozono Sunscreen Adults Cosmetics Spray Liquido 50+ 180Ml</c:v>
                </c:pt>
                <c:pt idx="7">
                  <c:v>Edgewell Hawaiian Tropic Ozono Sunscreen Adults Cosmetics Liquido 50+ 90Ml</c:v>
                </c:pt>
                <c:pt idx="8">
                  <c:v>Edgewell Hawaiian Tropic Other Sunscreen Adults Cosmetics Liquido 50 60Ml</c:v>
                </c:pt>
                <c:pt idx="9">
                  <c:v>Edgewell Hawaiian Tropic Other Sunscreen Adults Cosmetics Crema 50+ 240Ml</c:v>
                </c:pt>
                <c:pt idx="10">
                  <c:v>Edgewell Hawaiian Tropic Sheer Touch Sunscreen Adults Cosmetics Crema 50 120Ml</c:v>
                </c:pt>
                <c:pt idx="11">
                  <c:v>Edgewell Hawaiian Tropic Baby Sunscreen Baby Cosmetics Crema 50+ 240Ml</c:v>
                </c:pt>
              </c:strCache>
            </c:strRef>
          </c:cat>
          <c:val>
            <c:numRef>
              <c:f>Sheet1!$B$2:$B$13</c:f>
              <c:numCache>
                <c:formatCode>General</c:formatCode>
                <c:ptCount val="12"/>
                <c:pt idx="0">
                  <c:v>253.23</c:v>
                </c:pt>
                <c:pt idx="1">
                  <c:v>281.29</c:v>
                </c:pt>
                <c:pt idx="2">
                  <c:v>72.25</c:v>
                </c:pt>
                <c:pt idx="3">
                  <c:v>247.96</c:v>
                </c:pt>
                <c:pt idx="4">
                  <c:v>133.0</c:v>
                </c:pt>
                <c:pt idx="5">
                  <c:v>220.0</c:v>
                </c:pt>
                <c:pt idx="6">
                  <c:v>279.12</c:v>
                </c:pt>
                <c:pt idx="7">
                  <c:v>88.0</c:v>
                </c:pt>
                <c:pt idx="8">
                  <c:v>235.9</c:v>
                </c:pt>
                <c:pt idx="9">
                  <c:v>250.75</c:v>
                </c:pt>
                <c:pt idx="10">
                  <c:v>218.42</c:v>
                </c:pt>
                <c:pt idx="11">
                  <c:v>258.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85.74</a:t>
                    </a:r>
                  </a:p>
                </c:rich>
              </c:tx>
              <c:dLblPos val="t"/>
              <c:showLegendKey val="0"/>
              <c:showVal val="1"/>
              <c:showCatName val="0"/>
              <c:showSerName val="0"/>
              <c:showPercent val="0"/>
              <c:showBubbleSize val="0"/>
            </c:dLbl>
            <c:dLbl>
              <c:idx val="2"/>
              <c:tx>
                <c:rich>
                  <a:bodyPr/>
                  <a:lstStyle/>
                  <a:p>
                    <a:r>
                      <a:t>104.26</a:t>
                    </a:r>
                  </a:p>
                </c:rich>
              </c:tx>
              <c:dLblPos val="t"/>
              <c:showLegendKey val="0"/>
              <c:showVal val="1"/>
              <c:showCatName val="0"/>
              <c:showSerName val="0"/>
              <c:showPercent val="0"/>
              <c:showBubbleSize val="0"/>
            </c:dLbl>
            <c:dLbl>
              <c:idx val="3"/>
              <c:tx>
                <c:rich>
                  <a:bodyPr/>
                  <a:lstStyle/>
                  <a:p>
                    <a:r>
                      <a:t>309.91</a:t>
                    </a:r>
                  </a:p>
                </c:rich>
              </c:tx>
              <c:dLblPos val="t"/>
              <c:showLegendKey val="0"/>
              <c:showVal val="1"/>
              <c:showCatName val="0"/>
              <c:showSerName val="0"/>
              <c:showPercent val="0"/>
              <c:showBubbleSize val="0"/>
            </c:dLbl>
            <c:dLbl>
              <c:idx val="4"/>
              <c:tx>
                <c:rich>
                  <a:bodyPr/>
                  <a:lstStyle/>
                  <a:p>
                    <a:r>
                      <a:t>293.24</a:t>
                    </a:r>
                  </a:p>
                </c:rich>
              </c:tx>
              <c:dLblPos val="t"/>
              <c:showLegendKey val="0"/>
              <c:showVal val="1"/>
              <c:showCatName val="0"/>
              <c:showSerName val="0"/>
              <c:showPercent val="0"/>
              <c:showBubbleSize val="0"/>
            </c:dLbl>
            <c:dLbl>
              <c:idx val="5"/>
              <c:tx>
                <c:rich>
                  <a:bodyPr/>
                  <a:lstStyle/>
                  <a:p>
                    <a:r>
                      <a:t>314.89</a:t>
                    </a:r>
                  </a:p>
                </c:rich>
              </c:tx>
              <c:dLblPos val="t"/>
              <c:showLegendKey val="0"/>
              <c:showVal val="1"/>
              <c:showCatName val="0"/>
              <c:showSerName val="0"/>
              <c:showPercent val="0"/>
              <c:showBubbleSize val="0"/>
            </c:dLbl>
            <c:dLbl>
              <c:idx val="6"/>
              <c:tx>
                <c:rich>
                  <a:bodyPr/>
                  <a:lstStyle/>
                  <a:p>
                    <a:r>
                      <a:t>94.65</a:t>
                    </a:r>
                  </a:p>
                </c:rich>
              </c:tx>
              <c:dLblPos val="t"/>
              <c:showLegendKey val="0"/>
              <c:showVal val="1"/>
              <c:showCatName val="0"/>
              <c:showSerName val="0"/>
              <c:showPercent val="0"/>
              <c:showBubbleSize val="0"/>
            </c:dLbl>
            <c:dLbl>
              <c:idx val="7"/>
              <c:tx>
                <c:rich>
                  <a:bodyPr/>
                  <a:lstStyle/>
                  <a:p>
                    <a:r>
                      <a:t>190.67</a:t>
                    </a:r>
                  </a:p>
                </c:rich>
              </c:tx>
              <c:dLblPos val="t"/>
              <c:showLegendKey val="0"/>
              <c:showVal val="1"/>
              <c:showCatName val="0"/>
              <c:showSerName val="0"/>
              <c:showPercent val="0"/>
              <c:showBubbleSize val="0"/>
            </c:dLbl>
            <c:dLbl>
              <c:idx val="8"/>
              <c:tx>
                <c:rich>
                  <a:bodyPr/>
                  <a:lstStyle/>
                  <a:p>
                    <a:r>
                      <a:t>317.75</a:t>
                    </a:r>
                  </a:p>
                </c:rich>
              </c:tx>
              <c:dLblPos val="t"/>
              <c:showLegendKey val="0"/>
              <c:showVal val="1"/>
              <c:showCatName val="0"/>
              <c:showSerName val="0"/>
              <c:showPercent val="0"/>
              <c:showBubbleSize val="0"/>
            </c:dLbl>
            <c:dLbl>
              <c:idx val="9"/>
              <c:tx>
                <c:rich>
                  <a:bodyPr/>
                  <a:lstStyle/>
                  <a:p>
                    <a:r>
                      <a:t>300.09</a:t>
                    </a:r>
                  </a:p>
                </c:rich>
              </c:tx>
              <c:dLblPos val="t"/>
              <c:showLegendKey val="0"/>
              <c:showVal val="1"/>
              <c:showCatName val="0"/>
              <c:showSerName val="0"/>
              <c:showPercent val="0"/>
              <c:showBubbleSize val="0"/>
            </c:dLbl>
            <c:dLbl>
              <c:idx val="10"/>
              <c:tx>
                <c:rich>
                  <a:bodyPr/>
                  <a:lstStyle/>
                  <a:p>
                    <a:r>
                      <a:t>278.53</a:t>
                    </a:r>
                  </a:p>
                </c:rich>
              </c:tx>
              <c:dLblPos val="t"/>
              <c:showLegendKey val="0"/>
              <c:showVal val="1"/>
              <c:showCatName val="0"/>
              <c:showSerName val="0"/>
              <c:showPercent val="0"/>
              <c:showBubbleSize val="0"/>
            </c:dLbl>
            <c:dLbl>
              <c:idx val="11"/>
              <c:tx>
                <c:rich>
                  <a:bodyPr/>
                  <a:lstStyle/>
                  <a:p>
                    <a:r>
                      <a:t>98.83</a:t>
                    </a:r>
                  </a:p>
                </c:rich>
              </c:tx>
              <c:dLblPos val="t"/>
              <c:showLegendKey val="0"/>
              <c:showVal val="1"/>
              <c:showCatName val="0"/>
              <c:showSerName val="0"/>
              <c:showPercent val="0"/>
              <c:showBubbleSize val="0"/>
            </c:dLbl>
            <c:dLbl>
              <c:idx val="12"/>
              <c:tx>
                <c:rich>
                  <a:bodyPr/>
                  <a:lstStyle/>
                  <a:p>
                    <a:r>
                      <a:t>294.75</a:t>
                    </a:r>
                  </a:p>
                </c:rich>
              </c:tx>
              <c:dLblPos val="t"/>
              <c:showLegendKey val="0"/>
              <c:showVal val="1"/>
              <c:showCatName val="0"/>
              <c:showSerName val="0"/>
              <c:showPercent val="0"/>
              <c:showBubbleSize val="0"/>
            </c:dLbl>
            <c:dLbl>
              <c:idx val="13"/>
              <c:tx>
                <c:rich>
                  <a:bodyPr/>
                  <a:lstStyle/>
                  <a:p>
                    <a:r>
                      <a:t>185.41</a:t>
                    </a:r>
                  </a:p>
                </c:rich>
              </c:tx>
              <c:dLblPos val="t"/>
              <c:showLegendKey val="0"/>
              <c:showVal val="1"/>
              <c:showCatName val="0"/>
              <c:showSerName val="0"/>
              <c:showPercent val="0"/>
              <c:showBubbleSize val="0"/>
            </c:dLbl>
            <c:dLbl>
              <c:idx val="14"/>
              <c:tx>
                <c:rich>
                  <a:bodyPr/>
                  <a:lstStyle/>
                  <a:p>
                    <a:r>
                      <a:t>281.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Hawaiian Tropic Ozono Sunscreen Adults Cosmetics Spray Liquido 50+ 180Ml</c:v>
                </c:pt>
                <c:pt idx="4">
                  <c:v>Edgewell Hawaiian Tropic Silk Hydration Sunscreen Adults Cosmetics Liquido 50 180Ml</c:v>
                </c:pt>
                <c:pt idx="5">
                  <c:v>Edgewell Hawaiian Tropic Island Sport Sunscreen Adults Sport Spray Liquido 50 220Ml</c:v>
                </c:pt>
                <c:pt idx="6">
                  <c:v>Edgewell Hawaiian Tropic Island Sport Sunscreen Adults Sport Liquido 50 60Ml</c:v>
                </c:pt>
                <c:pt idx="7">
                  <c:v>Edgewell Hawaiian Tropic Ozono Sunscreen Adults Cosmetics Liquido 50+ 120Ml</c:v>
                </c:pt>
                <c:pt idx="8">
                  <c:v>Edgewell Hawaiian Tropic Silk Hydration Sunscreen Adults Cosmetics Spray Liquido 50+ 180Ml</c:v>
                </c:pt>
                <c:pt idx="9">
                  <c:v>Edgewell Hawaiian Tropic Ozono Sunscreen Adults Cosmetics Liquido 50+ 180Ml</c:v>
                </c:pt>
                <c:pt idx="10">
                  <c:v>Edgewell Hawaiian Tropic Tanning Sunscreen Adults Cosmetics Spray Liquido 15 - 19 220Ml</c:v>
                </c:pt>
                <c:pt idx="11">
                  <c:v>Edgewell Hawaiian Tropic Sheer Touch Sunscreen Adults Cosmetics Liquido 30 - 49 60Ml</c:v>
                </c:pt>
                <c:pt idx="12">
                  <c:v>Edgewell Hawaiian Tropic Other Sunscreen Adults Cosmetics Crema 50+ 240Ml</c:v>
                </c:pt>
                <c:pt idx="13">
                  <c:v>Edgewell Hawaiian Tropic Sheer Touch Sunscreen Adults Cosmetics Crema 50 120Ml</c:v>
                </c:pt>
                <c:pt idx="14">
                  <c:v>Edgewell Hawaiian Tropic Sheer Touch Sunscreen Adults Cosmetics Crema 30 - 49 240Ml</c:v>
                </c:pt>
              </c:strCache>
            </c:strRef>
          </c:cat>
          <c:val>
            <c:numRef>
              <c:f>Sheet1!$B$2:$B$16</c:f>
              <c:numCache>
                <c:formatCode>General</c:formatCode>
                <c:ptCount val="15"/>
                <c:pt idx="0">
                  <c:v>285.73</c:v>
                </c:pt>
                <c:pt idx="1">
                  <c:v>285.74</c:v>
                </c:pt>
                <c:pt idx="2">
                  <c:v>104.26</c:v>
                </c:pt>
                <c:pt idx="3">
                  <c:v>309.91</c:v>
                </c:pt>
                <c:pt idx="4">
                  <c:v>293.24</c:v>
                </c:pt>
                <c:pt idx="5">
                  <c:v>314.89</c:v>
                </c:pt>
                <c:pt idx="6">
                  <c:v>94.65</c:v>
                </c:pt>
                <c:pt idx="7">
                  <c:v>190.67</c:v>
                </c:pt>
                <c:pt idx="8">
                  <c:v>317.75</c:v>
                </c:pt>
                <c:pt idx="9">
                  <c:v>300.09</c:v>
                </c:pt>
                <c:pt idx="10">
                  <c:v>278.53</c:v>
                </c:pt>
                <c:pt idx="11">
                  <c:v>98.83</c:v>
                </c:pt>
                <c:pt idx="12">
                  <c:v>294.75</c:v>
                </c:pt>
                <c:pt idx="13">
                  <c:v>185.41</c:v>
                </c:pt>
                <c:pt idx="14">
                  <c:v>281.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58</a:t>
                    </a:r>
                  </a:p>
                </c:rich>
              </c:tx>
              <c:dLblPos val="t"/>
              <c:showLegendKey val="0"/>
              <c:showVal val="1"/>
              <c:showCatName val="0"/>
              <c:showSerName val="0"/>
              <c:showPercent val="0"/>
              <c:showBubbleSize val="0"/>
            </c:dLbl>
            <c:dLbl>
              <c:idx val="1"/>
              <c:tx>
                <c:rich>
                  <a:bodyPr/>
                  <a:lstStyle/>
                  <a:p>
                    <a:r>
                      <a:t>305.0</a:t>
                    </a:r>
                  </a:p>
                </c:rich>
              </c:tx>
              <c:dLblPos val="t"/>
              <c:showLegendKey val="0"/>
              <c:showVal val="1"/>
              <c:showCatName val="0"/>
              <c:showSerName val="0"/>
              <c:showPercent val="0"/>
              <c:showBubbleSize val="0"/>
            </c:dLbl>
            <c:dLbl>
              <c:idx val="2"/>
              <c:tx>
                <c:rich>
                  <a:bodyPr/>
                  <a:lstStyle/>
                  <a:p>
                    <a:r>
                      <a:t>281.45</a:t>
                    </a:r>
                  </a:p>
                </c:rich>
              </c:tx>
              <c:dLblPos val="t"/>
              <c:showLegendKey val="0"/>
              <c:showVal val="1"/>
              <c:showCatName val="0"/>
              <c:showSerName val="0"/>
              <c:showPercent val="0"/>
              <c:showBubbleSize val="0"/>
            </c:dLbl>
            <c:dLbl>
              <c:idx val="3"/>
              <c:tx>
                <c:rich>
                  <a:bodyPr/>
                  <a:lstStyle/>
                  <a:p>
                    <a:r>
                      <a:t>82.86</a:t>
                    </a:r>
                  </a:p>
                </c:rich>
              </c:tx>
              <c:dLblPos val="t"/>
              <c:showLegendKey val="0"/>
              <c:showVal val="1"/>
              <c:showCatName val="0"/>
              <c:showSerName val="0"/>
              <c:showPercent val="0"/>
              <c:showBubbleSize val="0"/>
            </c:dLbl>
            <c:dLbl>
              <c:idx val="4"/>
              <c:tx>
                <c:rich>
                  <a:bodyPr/>
                  <a:lstStyle/>
                  <a:p>
                    <a:r>
                      <a:t>240.1</a:t>
                    </a:r>
                  </a:p>
                </c:rich>
              </c:tx>
              <c:dLblPos val="t"/>
              <c:showLegendKey val="0"/>
              <c:showVal val="1"/>
              <c:showCatName val="0"/>
              <c:showSerName val="0"/>
              <c:showPercent val="0"/>
              <c:showBubbleSize val="0"/>
            </c:dLbl>
            <c:dLbl>
              <c:idx val="5"/>
              <c:tx>
                <c:rich>
                  <a:bodyPr/>
                  <a:lstStyle/>
                  <a:p>
                    <a:r>
                      <a:t>309.4</a:t>
                    </a:r>
                  </a:p>
                </c:rich>
              </c:tx>
              <c:dLblPos val="t"/>
              <c:showLegendKey val="0"/>
              <c:showVal val="1"/>
              <c:showCatName val="0"/>
              <c:showSerName val="0"/>
              <c:showPercent val="0"/>
              <c:showBubbleSize val="0"/>
            </c:dLbl>
            <c:dLbl>
              <c:idx val="6"/>
              <c:tx>
                <c:rich>
                  <a:bodyPr/>
                  <a:lstStyle/>
                  <a:p>
                    <a:r>
                      <a:t>254.7</a:t>
                    </a:r>
                  </a:p>
                </c:rich>
              </c:tx>
              <c:dLblPos val="t"/>
              <c:showLegendKey val="0"/>
              <c:showVal val="1"/>
              <c:showCatName val="0"/>
              <c:showSerName val="0"/>
              <c:showPercent val="0"/>
              <c:showBubbleSize val="0"/>
            </c:dLbl>
            <c:dLbl>
              <c:idx val="7"/>
              <c:tx>
                <c:rich>
                  <a:bodyPr/>
                  <a:lstStyle/>
                  <a:p>
                    <a:r>
                      <a:t>319.36</a:t>
                    </a:r>
                  </a:p>
                </c:rich>
              </c:tx>
              <c:dLblPos val="t"/>
              <c:showLegendKey val="0"/>
              <c:showVal val="1"/>
              <c:showCatName val="0"/>
              <c:showSerName val="0"/>
              <c:showPercent val="0"/>
              <c:showBubbleSize val="0"/>
            </c:dLbl>
            <c:dLbl>
              <c:idx val="8"/>
              <c:tx>
                <c:rich>
                  <a:bodyPr/>
                  <a:lstStyle/>
                  <a:p>
                    <a:r>
                      <a:t>318.18</a:t>
                    </a:r>
                  </a:p>
                </c:rich>
              </c:tx>
              <c:dLblPos val="t"/>
              <c:showLegendKey val="0"/>
              <c:showVal val="1"/>
              <c:showCatName val="0"/>
              <c:showSerName val="0"/>
              <c:showPercent val="0"/>
              <c:showBubbleSize val="0"/>
            </c:dLbl>
            <c:dLbl>
              <c:idx val="9"/>
              <c:tx>
                <c:rich>
                  <a:bodyPr/>
                  <a:lstStyle/>
                  <a:p>
                    <a:r>
                      <a:t>312.27</a:t>
                    </a:r>
                  </a:p>
                </c:rich>
              </c:tx>
              <c:dLblPos val="t"/>
              <c:showLegendKey val="0"/>
              <c:showVal val="1"/>
              <c:showCatName val="0"/>
              <c:showSerName val="0"/>
              <c:showPercent val="0"/>
              <c:showBubbleSize val="0"/>
            </c:dLbl>
            <c:dLbl>
              <c:idx val="10"/>
              <c:tx>
                <c:rich>
                  <a:bodyPr/>
                  <a:lstStyle/>
                  <a:p>
                    <a:r>
                      <a:t>96.45</a:t>
                    </a:r>
                  </a:p>
                </c:rich>
              </c:tx>
              <c:dLblPos val="t"/>
              <c:showLegendKey val="0"/>
              <c:showVal val="1"/>
              <c:showCatName val="0"/>
              <c:showSerName val="0"/>
              <c:showPercent val="0"/>
              <c:showBubbleSize val="0"/>
            </c:dLbl>
            <c:dLbl>
              <c:idx val="11"/>
              <c:tx>
                <c:rich>
                  <a:bodyPr/>
                  <a:lstStyle/>
                  <a:p>
                    <a:r>
                      <a:t>278.07</a:t>
                    </a:r>
                  </a:p>
                </c:rich>
              </c:tx>
              <c:dLblPos val="t"/>
              <c:showLegendKey val="0"/>
              <c:showVal val="1"/>
              <c:showCatName val="0"/>
              <c:showSerName val="0"/>
              <c:showPercent val="0"/>
              <c:showBubbleSize val="0"/>
            </c:dLbl>
            <c:dLbl>
              <c:idx val="12"/>
              <c:tx>
                <c:rich>
                  <a:bodyPr/>
                  <a:lstStyle/>
                  <a:p>
                    <a:r>
                      <a:t>268.08</a:t>
                    </a:r>
                  </a:p>
                </c:rich>
              </c:tx>
              <c:dLblPos val="t"/>
              <c:showLegendKey val="0"/>
              <c:showVal val="1"/>
              <c:showCatName val="0"/>
              <c:showSerName val="0"/>
              <c:showPercent val="0"/>
              <c:showBubbleSize val="0"/>
            </c:dLbl>
            <c:dLbl>
              <c:idx val="13"/>
              <c:tx>
                <c:rich>
                  <a:bodyPr/>
                  <a:lstStyle/>
                  <a:p>
                    <a:r>
                      <a:t>240.1</a:t>
                    </a:r>
                  </a:p>
                </c:rich>
              </c:tx>
              <c:dLblPos val="t"/>
              <c:showLegendKey val="0"/>
              <c:showVal val="1"/>
              <c:showCatName val="0"/>
              <c:showSerName val="0"/>
              <c:showPercent val="0"/>
              <c:showBubbleSize val="0"/>
            </c:dLbl>
            <c:dLbl>
              <c:idx val="14"/>
              <c:tx>
                <c:rich>
                  <a:bodyPr/>
                  <a:lstStyle/>
                  <a:p>
                    <a:r>
                      <a:t>292.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Spray Liquido 50+ 170Ml</c:v>
                </c:pt>
                <c:pt idx="1">
                  <c:v>Edgewell Banana Boat Dry Balance Sunscreen Adults Sport Spray Liquido 50 220Ml</c:v>
                </c:pt>
                <c:pt idx="2">
                  <c:v>Edgewell Banana Boat Advanced Protection Sunscreen Adults Cosmetics Liquido 50+ 240Ml</c:v>
                </c:pt>
                <c:pt idx="3">
                  <c:v>Edgewell Banana Boat Advanced Protection Sunscreen Adults Cosmetics Liquido 50+ 60Ml</c:v>
                </c:pt>
                <c:pt idx="4">
                  <c:v>Edgewell Banana Boat Advanced Protection Sunscreen Adults Cosmetics Liquido 50 180Ml</c:v>
                </c:pt>
                <c:pt idx="5">
                  <c:v>Edgewell Banana Boat Banded Pack Banded Pack 2X Sunscreen Multi 50+ 170Ml</c:v>
                </c:pt>
                <c:pt idx="6">
                  <c:v>Edgewell Banana Boat Banded Pack Banded Pack 2X Sunscreen Multi 50+ 236Ml</c:v>
                </c:pt>
                <c:pt idx="7">
                  <c:v>Edgewell Banana Boat Mineral Sunscreen Kids Cosmetics Locion 50 180Ml</c:v>
                </c:pt>
                <c:pt idx="8">
                  <c:v>Edgewell Banana Boat Mineral Sunscreen Adults Sport Locion 50 180Ml</c:v>
                </c:pt>
                <c:pt idx="9">
                  <c:v>Edgewell Banana Boat Mineral Sunscreen Adults Cosmetics Locion 50 180Ml</c:v>
                </c:pt>
                <c:pt idx="10">
                  <c:v>Edgewell Banana Boat Dry Balance Sunscreen Adults Sport Locion 50+ 60Ml</c:v>
                </c:pt>
                <c:pt idx="11">
                  <c:v>Edgewell Banana Boat Aqua Protect Sunscreen Adults Sport Crema 50+ 236Ml</c:v>
                </c:pt>
                <c:pt idx="12">
                  <c:v>Edgewell Banana Boat Aqua Protect Sunscreen Adults Cosmetics Crema 50+ 236Ml</c:v>
                </c:pt>
                <c:pt idx="13">
                  <c:v>Edgewell Banana Boat Kids Sport Sunscreen Kids Cosmetics Crema 50 180Ml</c:v>
                </c:pt>
                <c:pt idx="14">
                  <c:v>Edgewell Banana Boat Dry Balance Sunscreen Adults Sport Crema 50+ 180Ml</c:v>
                </c:pt>
              </c:strCache>
            </c:strRef>
          </c:cat>
          <c:val>
            <c:numRef>
              <c:f>Sheet1!$B$2:$B$16</c:f>
              <c:numCache>
                <c:formatCode>General</c:formatCode>
                <c:ptCount val="15"/>
                <c:pt idx="0">
                  <c:v>308.58</c:v>
                </c:pt>
                <c:pt idx="1">
                  <c:v>305.0</c:v>
                </c:pt>
                <c:pt idx="2">
                  <c:v>281.45</c:v>
                </c:pt>
                <c:pt idx="3">
                  <c:v>82.86</c:v>
                </c:pt>
                <c:pt idx="4">
                  <c:v>240.1</c:v>
                </c:pt>
                <c:pt idx="5">
                  <c:v>309.4</c:v>
                </c:pt>
                <c:pt idx="6">
                  <c:v>254.7</c:v>
                </c:pt>
                <c:pt idx="7">
                  <c:v>319.36</c:v>
                </c:pt>
                <c:pt idx="8">
                  <c:v>318.18</c:v>
                </c:pt>
                <c:pt idx="9">
                  <c:v>312.27</c:v>
                </c:pt>
                <c:pt idx="10">
                  <c:v>96.45</c:v>
                </c:pt>
                <c:pt idx="11">
                  <c:v>278.07</c:v>
                </c:pt>
                <c:pt idx="12">
                  <c:v>268.08</c:v>
                </c:pt>
                <c:pt idx="13">
                  <c:v>240.1</c:v>
                </c:pt>
                <c:pt idx="14">
                  <c:v>292.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305.29</a:t>
                    </a:r>
                  </a:p>
                </c:rich>
              </c:tx>
              <c:dLblPos val="t"/>
              <c:showLegendKey val="0"/>
              <c:showVal val="1"/>
              <c:showCatName val="0"/>
              <c:showSerName val="0"/>
              <c:showPercent val="0"/>
              <c:showBubbleSize val="0"/>
            </c:dLbl>
            <c:dLbl>
              <c:idx val="3"/>
              <c:tx>
                <c:rich>
                  <a:bodyPr/>
                  <a:lstStyle/>
                  <a:p>
                    <a:r>
                      <a:t>189.54</a:t>
                    </a:r>
                  </a:p>
                </c:rich>
              </c:tx>
              <c:dLblPos val="t"/>
              <c:showLegendKey val="0"/>
              <c:showVal val="1"/>
              <c:showCatName val="0"/>
              <c:showSerName val="0"/>
              <c:showPercent val="0"/>
              <c:showBubbleSize val="0"/>
            </c:dLbl>
            <c:dLbl>
              <c:idx val="4"/>
              <c:tx>
                <c:rich>
                  <a:bodyPr/>
                  <a:lstStyle/>
                  <a:p>
                    <a:r>
                      <a:t>101.15</a:t>
                    </a:r>
                  </a:p>
                </c:rich>
              </c:tx>
              <c:dLblPos val="t"/>
              <c:showLegendKey val="0"/>
              <c:showVal val="1"/>
              <c:showCatName val="0"/>
              <c:showSerName val="0"/>
              <c:showPercent val="0"/>
              <c:showBubbleSize val="0"/>
            </c:dLbl>
            <c:dLbl>
              <c:idx val="5"/>
              <c:tx>
                <c:rich>
                  <a:bodyPr/>
                  <a:lstStyle/>
                  <a:p>
                    <a:r>
                      <a:t>330.69</a:t>
                    </a:r>
                  </a:p>
                </c:rich>
              </c:tx>
              <c:dLblPos val="t"/>
              <c:showLegendKey val="0"/>
              <c:showVal val="1"/>
              <c:showCatName val="0"/>
              <c:showSerName val="0"/>
              <c:showPercent val="0"/>
              <c:showBubbleSize val="0"/>
            </c:dLbl>
            <c:dLbl>
              <c:idx val="6"/>
              <c:tx>
                <c:rich>
                  <a:bodyPr/>
                  <a:lstStyle/>
                  <a:p>
                    <a:r>
                      <a:t>300.48</a:t>
                    </a:r>
                  </a:p>
                </c:rich>
              </c:tx>
              <c:dLblPos val="t"/>
              <c:showLegendKey val="0"/>
              <c:showVal val="1"/>
              <c:showCatName val="0"/>
              <c:showSerName val="0"/>
              <c:showPercent val="0"/>
              <c:showBubbleSize val="0"/>
            </c:dLbl>
            <c:dLbl>
              <c:idx val="7"/>
              <c:tx>
                <c:rich>
                  <a:bodyPr/>
                  <a:lstStyle/>
                  <a:p>
                    <a:r>
                      <a:t>324.32</a:t>
                    </a:r>
                  </a:p>
                </c:rich>
              </c:tx>
              <c:dLblPos val="t"/>
              <c:showLegendKey val="0"/>
              <c:showVal val="1"/>
              <c:showCatName val="0"/>
              <c:showSerName val="0"/>
              <c:showPercent val="0"/>
              <c:showBubbleSize val="0"/>
            </c:dLbl>
            <c:dLbl>
              <c:idx val="8"/>
              <c:tx>
                <c:rich>
                  <a:bodyPr/>
                  <a:lstStyle/>
                  <a:p>
                    <a:r>
                      <a:t>301.91</a:t>
                    </a:r>
                  </a:p>
                </c:rich>
              </c:tx>
              <c:dLblPos val="t"/>
              <c:showLegendKey val="0"/>
              <c:showVal val="1"/>
              <c:showCatName val="0"/>
              <c:showSerName val="0"/>
              <c:showPercent val="0"/>
              <c:showBubbleSize val="0"/>
            </c:dLbl>
            <c:dLbl>
              <c:idx val="9"/>
              <c:tx>
                <c:rich>
                  <a:bodyPr/>
                  <a:lstStyle/>
                  <a:p>
                    <a:r>
                      <a:t>194.2</a:t>
                    </a:r>
                  </a:p>
                </c:rich>
              </c:tx>
              <c:dLblPos val="t"/>
              <c:showLegendKey val="0"/>
              <c:showVal val="1"/>
              <c:showCatName val="0"/>
              <c:showSerName val="0"/>
              <c:showPercent val="0"/>
              <c:showBubbleSize val="0"/>
            </c:dLbl>
            <c:dLbl>
              <c:idx val="10"/>
              <c:tx>
                <c:rich>
                  <a:bodyPr/>
                  <a:lstStyle/>
                  <a:p>
                    <a:r>
                      <a:t>92.14</a:t>
                    </a:r>
                  </a:p>
                </c:rich>
              </c:tx>
              <c:dLblPos val="t"/>
              <c:showLegendKey val="0"/>
              <c:showVal val="1"/>
              <c:showCatName val="0"/>
              <c:showSerName val="0"/>
              <c:showPercent val="0"/>
              <c:showBubbleSize val="0"/>
            </c:dLbl>
            <c:dLbl>
              <c:idx val="11"/>
              <c:tx>
                <c:rich>
                  <a:bodyPr/>
                  <a:lstStyle/>
                  <a:p>
                    <a:r>
                      <a:t>290.38</a:t>
                    </a:r>
                  </a:p>
                </c:rich>
              </c:tx>
              <c:dLblPos val="t"/>
              <c:showLegendKey val="0"/>
              <c:showVal val="1"/>
              <c:showCatName val="0"/>
              <c:showSerName val="0"/>
              <c:showPercent val="0"/>
              <c:showBubbleSize val="0"/>
            </c:dLbl>
            <c:dLbl>
              <c:idx val="12"/>
              <c:tx>
                <c:rich>
                  <a:bodyPr/>
                  <a:lstStyle/>
                  <a:p>
                    <a:r>
                      <a:t>339.07</a:t>
                    </a:r>
                  </a:p>
                </c:rich>
              </c:tx>
              <c:dLblPos val="t"/>
              <c:showLegendKey val="0"/>
              <c:showVal val="1"/>
              <c:showCatName val="0"/>
              <c:showSerName val="0"/>
              <c:showPercent val="0"/>
              <c:showBubbleSize val="0"/>
            </c:dLbl>
            <c:dLbl>
              <c:idx val="13"/>
              <c:tx>
                <c:rich>
                  <a:bodyPr/>
                  <a:lstStyle/>
                  <a:p>
                    <a:r>
                      <a:t>301.12</a:t>
                    </a:r>
                  </a:p>
                </c:rich>
              </c:tx>
              <c:dLblPos val="t"/>
              <c:showLegendKey val="0"/>
              <c:showVal val="1"/>
              <c:showCatName val="0"/>
              <c:showSerName val="0"/>
              <c:showPercent val="0"/>
              <c:showBubbleSize val="0"/>
            </c:dLbl>
            <c:dLbl>
              <c:idx val="14"/>
              <c:tx>
                <c:rich>
                  <a:bodyPr/>
                  <a:lstStyle/>
                  <a:p>
                    <a:r>
                      <a:t>175.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Hawaiian Tropic Sheer Touch Sunscreen Adults Cosmetics Crema 50 120Ml</c:v>
                </c:pt>
                <c:pt idx="4">
                  <c:v>Edgewell Hawaiian Tropic Ozono Sunscreen Adults Cosmetics Liquido 50+ 90Ml</c:v>
                </c:pt>
                <c:pt idx="5">
                  <c:v>Edgewell Hawaiian Tropic Ozono Sunscreen Adults Cosmetics Spray Liquido 50+ 180Ml</c:v>
                </c:pt>
                <c:pt idx="6">
                  <c:v>Edgewell Hawaiian Tropic Sheer Touch Sunscreen Adults Cosmetics Crema 30 - 49 240Ml</c:v>
                </c:pt>
                <c:pt idx="7">
                  <c:v>Edgewell Hawaiian Tropic Island Sport Sunscreen Adults Sport Spray Liquido 50 220Ml</c:v>
                </c:pt>
                <c:pt idx="8">
                  <c:v>Edgewell Hawaiian Tropic Silk Hydration Sunscreen Adults Cosmetics Liquido 50 180Ml</c:v>
                </c:pt>
                <c:pt idx="9">
                  <c:v>Edgewell Hawaiian Tropic Ozono Sunscreen Adults Cosmetics Liquido 50+ 120Ml</c:v>
                </c:pt>
                <c:pt idx="10">
                  <c:v>Edgewell Hawaiian Tropic Island Sport Sunscreen Adults Sport Liquido 50 60Ml</c:v>
                </c:pt>
                <c:pt idx="11">
                  <c:v>Edgewell Hawaiian Tropic Tanning Sunscreen Adults Cosmetics Spray Liquido 15 - 19 220Ml</c:v>
                </c:pt>
                <c:pt idx="12">
                  <c:v>Edgewell Hawaiian Tropic Silk Hydration Sunscreen Adults Cosmetics Spray Liquido 50+ 180Ml</c:v>
                </c:pt>
                <c:pt idx="13">
                  <c:v>Edgewell Hawaiian Tropic Tanning Tanning Adults Cosmetics Spray Aceite 0 - 5 240Ml</c:v>
                </c:pt>
                <c:pt idx="14">
                  <c:v>Edgewell Hawaiian Tropic After Sun After Sun Adults Cosmetics Gel 0 - 5 240Ml</c:v>
                </c:pt>
              </c:strCache>
            </c:strRef>
          </c:cat>
          <c:val>
            <c:numRef>
              <c:f>Sheet1!$B$2:$B$16</c:f>
              <c:numCache>
                <c:formatCode>General</c:formatCode>
                <c:ptCount val="15"/>
                <c:pt idx="0">
                  <c:v>305.1</c:v>
                </c:pt>
                <c:pt idx="1">
                  <c:v>312.14</c:v>
                </c:pt>
                <c:pt idx="2">
                  <c:v>305.29</c:v>
                </c:pt>
                <c:pt idx="3">
                  <c:v>189.54</c:v>
                </c:pt>
                <c:pt idx="4">
                  <c:v>101.15</c:v>
                </c:pt>
                <c:pt idx="5">
                  <c:v>330.69</c:v>
                </c:pt>
                <c:pt idx="6">
                  <c:v>300.48</c:v>
                </c:pt>
                <c:pt idx="7">
                  <c:v>324.32</c:v>
                </c:pt>
                <c:pt idx="8">
                  <c:v>301.91</c:v>
                </c:pt>
                <c:pt idx="9">
                  <c:v>194.2</c:v>
                </c:pt>
                <c:pt idx="10">
                  <c:v>92.14</c:v>
                </c:pt>
                <c:pt idx="11">
                  <c:v>290.38</c:v>
                </c:pt>
                <c:pt idx="12">
                  <c:v>339.07</c:v>
                </c:pt>
                <c:pt idx="13">
                  <c:v>301.12</c:v>
                </c:pt>
                <c:pt idx="14">
                  <c:v>175.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2.46</a:t>
                    </a:r>
                  </a:p>
                </c:rich>
              </c:tx>
              <c:dLblPos val="t"/>
              <c:showLegendKey val="0"/>
              <c:showVal val="1"/>
              <c:showCatName val="0"/>
              <c:showSerName val="0"/>
              <c:showPercent val="0"/>
              <c:showBubbleSize val="0"/>
            </c:dLbl>
            <c:dLbl>
              <c:idx val="1"/>
              <c:tx>
                <c:rich>
                  <a:bodyPr/>
                  <a:lstStyle/>
                  <a:p>
                    <a:r>
                      <a:t>314.98</a:t>
                    </a:r>
                  </a:p>
                </c:rich>
              </c:tx>
              <c:dLblPos val="t"/>
              <c:showLegendKey val="0"/>
              <c:showVal val="1"/>
              <c:showCatName val="0"/>
              <c:showSerName val="0"/>
              <c:showPercent val="0"/>
              <c:showBubbleSize val="0"/>
            </c:dLbl>
            <c:dLbl>
              <c:idx val="2"/>
              <c:tx>
                <c:rich>
                  <a:bodyPr/>
                  <a:lstStyle/>
                  <a:p>
                    <a:r>
                      <a:t>286.78</a:t>
                    </a:r>
                  </a:p>
                </c:rich>
              </c:tx>
              <c:dLblPos val="t"/>
              <c:showLegendKey val="0"/>
              <c:showVal val="1"/>
              <c:showCatName val="0"/>
              <c:showSerName val="0"/>
              <c:showPercent val="0"/>
              <c:showBubbleSize val="0"/>
            </c:dLbl>
            <c:dLbl>
              <c:idx val="3"/>
              <c:tx>
                <c:rich>
                  <a:bodyPr/>
                  <a:lstStyle/>
                  <a:p>
                    <a:r>
                      <a:t>84.58</a:t>
                    </a:r>
                  </a:p>
                </c:rich>
              </c:tx>
              <c:dLblPos val="t"/>
              <c:showLegendKey val="0"/>
              <c:showVal val="1"/>
              <c:showCatName val="0"/>
              <c:showSerName val="0"/>
              <c:showPercent val="0"/>
              <c:showBubbleSize val="0"/>
            </c:dLbl>
            <c:dLbl>
              <c:idx val="4"/>
              <c:tx>
                <c:rich>
                  <a:bodyPr/>
                  <a:lstStyle/>
                  <a:p>
                    <a:r>
                      <a:t>247.77</a:t>
                    </a:r>
                  </a:p>
                </c:rich>
              </c:tx>
              <c:dLblPos val="t"/>
              <c:showLegendKey val="0"/>
              <c:showVal val="1"/>
              <c:showCatName val="0"/>
              <c:showSerName val="0"/>
              <c:showPercent val="0"/>
              <c:showBubbleSize val="0"/>
            </c:dLbl>
            <c:dLbl>
              <c:idx val="5"/>
              <c:tx>
                <c:rich>
                  <a:bodyPr/>
                  <a:lstStyle/>
                  <a:p>
                    <a:r>
                      <a:t>320.31</a:t>
                    </a:r>
                  </a:p>
                </c:rich>
              </c:tx>
              <c:dLblPos val="t"/>
              <c:showLegendKey val="0"/>
              <c:showVal val="1"/>
              <c:showCatName val="0"/>
              <c:showSerName val="0"/>
              <c:showPercent val="0"/>
              <c:showBubbleSize val="0"/>
            </c:dLbl>
            <c:dLbl>
              <c:idx val="6"/>
              <c:tx>
                <c:rich>
                  <a:bodyPr/>
                  <a:lstStyle/>
                  <a:p>
                    <a:r>
                      <a:t>266.75</a:t>
                    </a:r>
                  </a:p>
                </c:rich>
              </c:tx>
              <c:dLblPos val="t"/>
              <c:showLegendKey val="0"/>
              <c:showVal val="1"/>
              <c:showCatName val="0"/>
              <c:showSerName val="0"/>
              <c:showPercent val="0"/>
              <c:showBubbleSize val="0"/>
            </c:dLbl>
            <c:dLbl>
              <c:idx val="7"/>
              <c:tx>
                <c:rich>
                  <a:bodyPr/>
                  <a:lstStyle/>
                  <a:p>
                    <a:r>
                      <a:t>324.32</a:t>
                    </a:r>
                  </a:p>
                </c:rich>
              </c:tx>
              <c:dLblPos val="t"/>
              <c:showLegendKey val="0"/>
              <c:showVal val="1"/>
              <c:showCatName val="0"/>
              <c:showSerName val="0"/>
              <c:showPercent val="0"/>
              <c:showBubbleSize val="0"/>
            </c:dLbl>
            <c:dLbl>
              <c:idx val="8"/>
              <c:tx>
                <c:rich>
                  <a:bodyPr/>
                  <a:lstStyle/>
                  <a:p>
                    <a:r>
                      <a:t>320.29</a:t>
                    </a:r>
                  </a:p>
                </c:rich>
              </c:tx>
              <c:dLblPos val="t"/>
              <c:showLegendKey val="0"/>
              <c:showVal val="1"/>
              <c:showCatName val="0"/>
              <c:showSerName val="0"/>
              <c:showPercent val="0"/>
              <c:showBubbleSize val="0"/>
            </c:dLbl>
            <c:dLbl>
              <c:idx val="9"/>
              <c:tx>
                <c:rich>
                  <a:bodyPr/>
                  <a:lstStyle/>
                  <a:p>
                    <a:r>
                      <a:t>318.51</a:t>
                    </a:r>
                  </a:p>
                </c:rich>
              </c:tx>
              <c:dLblPos val="t"/>
              <c:showLegendKey val="0"/>
              <c:showVal val="1"/>
              <c:showCatName val="0"/>
              <c:showSerName val="0"/>
              <c:showPercent val="0"/>
              <c:showBubbleSize val="0"/>
            </c:dLbl>
            <c:dLbl>
              <c:idx val="10"/>
              <c:tx>
                <c:rich>
                  <a:bodyPr/>
                  <a:lstStyle/>
                  <a:p>
                    <a:r>
                      <a:t>98.84</a:t>
                    </a:r>
                  </a:p>
                </c:rich>
              </c:tx>
              <c:dLblPos val="t"/>
              <c:showLegendKey val="0"/>
              <c:showVal val="1"/>
              <c:showCatName val="0"/>
              <c:showSerName val="0"/>
              <c:showPercent val="0"/>
              <c:showBubbleSize val="0"/>
            </c:dLbl>
            <c:dLbl>
              <c:idx val="11"/>
              <c:tx>
                <c:rich>
                  <a:bodyPr/>
                  <a:lstStyle/>
                  <a:p>
                    <a:r>
                      <a:t>286.35</a:t>
                    </a:r>
                  </a:p>
                </c:rich>
              </c:tx>
              <c:dLblPos val="t"/>
              <c:showLegendKey val="0"/>
              <c:showVal val="1"/>
              <c:showCatName val="0"/>
              <c:showSerName val="0"/>
              <c:showPercent val="0"/>
              <c:showBubbleSize val="0"/>
            </c:dLbl>
            <c:dLbl>
              <c:idx val="12"/>
              <c:tx>
                <c:rich>
                  <a:bodyPr/>
                  <a:lstStyle/>
                  <a:p>
                    <a:r>
                      <a:t>274.64</a:t>
                    </a:r>
                  </a:p>
                </c:rich>
              </c:tx>
              <c:dLblPos val="t"/>
              <c:showLegendKey val="0"/>
              <c:showVal val="1"/>
              <c:showCatName val="0"/>
              <c:showSerName val="0"/>
              <c:showPercent val="0"/>
              <c:showBubbleSize val="0"/>
            </c:dLbl>
            <c:dLbl>
              <c:idx val="13"/>
              <c:tx>
                <c:rich>
                  <a:bodyPr/>
                  <a:lstStyle/>
                  <a:p>
                    <a:r>
                      <a:t>256.79</a:t>
                    </a:r>
                  </a:p>
                </c:rich>
              </c:tx>
              <c:dLblPos val="t"/>
              <c:showLegendKey val="0"/>
              <c:showVal val="1"/>
              <c:showCatName val="0"/>
              <c:showSerName val="0"/>
              <c:showPercent val="0"/>
              <c:showBubbleSize val="0"/>
            </c:dLbl>
            <c:dLbl>
              <c:idx val="14"/>
              <c:tx>
                <c:rich>
                  <a:bodyPr/>
                  <a:lstStyle/>
                  <a:p>
                    <a:r>
                      <a:t>303.0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Spray Liquido 50+ 170Ml</c:v>
                </c:pt>
                <c:pt idx="1">
                  <c:v>Edgewell Banana Boat Dry Balance Sunscreen Adults Sport Spray Liquido 50 220Ml</c:v>
                </c:pt>
                <c:pt idx="2">
                  <c:v>Edgewell Banana Boat Advanced Protection Sunscreen Adults Cosmetics Liquido 50+ 240Ml</c:v>
                </c:pt>
                <c:pt idx="3">
                  <c:v>Edgewell Banana Boat Advanced Protection Sunscreen Adults Cosmetics Liquido 50+ 60Ml</c:v>
                </c:pt>
                <c:pt idx="4">
                  <c:v>Edgewell Banana Boat Advanced Protection Sunscreen Adults Cosmetics Liquido 50 180Ml</c:v>
                </c:pt>
                <c:pt idx="5">
                  <c:v>Edgewell Banana Boat Banded Pack Banded Pack 2X Sunscreen Multi 50+ 170Ml</c:v>
                </c:pt>
                <c:pt idx="6">
                  <c:v>Edgewell Banana Boat Banded Pack Banded Pack 2X Sunscreen Multi 50+ 236Ml</c:v>
                </c:pt>
                <c:pt idx="7">
                  <c:v>Edgewell Banana Boat Mineral Sunscreen Kids Cosmetics Locion 50 180Ml</c:v>
                </c:pt>
                <c:pt idx="8">
                  <c:v>Edgewell Banana Boat Mineral Sunscreen Adults Sport Locion 50 180Ml</c:v>
                </c:pt>
                <c:pt idx="9">
                  <c:v>Edgewell Banana Boat Mineral Sunscreen Adults Cosmetics Locion 50 180Ml</c:v>
                </c:pt>
                <c:pt idx="10">
                  <c:v>Edgewell Banana Boat Dry Balance Sunscreen Adults Sport Locion 50+ 60Ml</c:v>
                </c:pt>
                <c:pt idx="11">
                  <c:v>Edgewell Banana Boat Aqua Protect Sunscreen Adults Sport Crema 50+ 236Ml</c:v>
                </c:pt>
                <c:pt idx="12">
                  <c:v>Edgewell Banana Boat Aqua Protect Sunscreen Adults Cosmetics Crema 50+ 236Ml</c:v>
                </c:pt>
                <c:pt idx="13">
                  <c:v>Edgewell Banana Boat Kids Sport Sunscreen Kids Cosmetics Crema 50 180Ml</c:v>
                </c:pt>
                <c:pt idx="14">
                  <c:v>Edgewell Banana Boat Dry Balance Sunscreen Adults Sport Crema 50+ 180Ml</c:v>
                </c:pt>
              </c:strCache>
            </c:strRef>
          </c:cat>
          <c:val>
            <c:numRef>
              <c:f>Sheet1!$B$2:$B$16</c:f>
              <c:numCache>
                <c:formatCode>General</c:formatCode>
                <c:ptCount val="15"/>
                <c:pt idx="0">
                  <c:v>312.46</c:v>
                </c:pt>
                <c:pt idx="1">
                  <c:v>314.98</c:v>
                </c:pt>
                <c:pt idx="2">
                  <c:v>286.78</c:v>
                </c:pt>
                <c:pt idx="3">
                  <c:v>84.58</c:v>
                </c:pt>
                <c:pt idx="4">
                  <c:v>247.77</c:v>
                </c:pt>
                <c:pt idx="5">
                  <c:v>320.31</c:v>
                </c:pt>
                <c:pt idx="6">
                  <c:v>266.75</c:v>
                </c:pt>
                <c:pt idx="7">
                  <c:v>324.32</c:v>
                </c:pt>
                <c:pt idx="8">
                  <c:v>320.29</c:v>
                </c:pt>
                <c:pt idx="9">
                  <c:v>318.51</c:v>
                </c:pt>
                <c:pt idx="10">
                  <c:v>98.84</c:v>
                </c:pt>
                <c:pt idx="11">
                  <c:v>286.35</c:v>
                </c:pt>
                <c:pt idx="12">
                  <c:v>274.64</c:v>
                </c:pt>
                <c:pt idx="13">
                  <c:v>256.79</c:v>
                </c:pt>
                <c:pt idx="14">
                  <c:v>303.0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7.72</a:t>
                    </a:r>
                  </a:p>
                </c:rich>
              </c:tx>
              <c:dLblPos val="t"/>
              <c:showLegendKey val="0"/>
              <c:showVal val="1"/>
              <c:showCatName val="0"/>
              <c:showSerName val="0"/>
              <c:showPercent val="0"/>
              <c:showBubbleSize val="0"/>
            </c:dLbl>
            <c:dLbl>
              <c:idx val="1"/>
              <c:tx>
                <c:rich>
                  <a:bodyPr/>
                  <a:lstStyle/>
                  <a:p>
                    <a:r>
                      <a:t>332.96</a:t>
                    </a:r>
                  </a:p>
                </c:rich>
              </c:tx>
              <c:dLblPos val="t"/>
              <c:showLegendKey val="0"/>
              <c:showVal val="1"/>
              <c:showCatName val="0"/>
              <c:showSerName val="0"/>
              <c:showPercent val="0"/>
              <c:showBubbleSize val="0"/>
            </c:dLbl>
            <c:dLbl>
              <c:idx val="2"/>
              <c:tx>
                <c:rich>
                  <a:bodyPr/>
                  <a:lstStyle/>
                  <a:p>
                    <a:r>
                      <a:t>81.09</a:t>
                    </a:r>
                  </a:p>
                </c:rich>
              </c:tx>
              <c:dLblPos val="t"/>
              <c:showLegendKey val="0"/>
              <c:showVal val="1"/>
              <c:showCatName val="0"/>
              <c:showSerName val="0"/>
              <c:showPercent val="0"/>
              <c:showBubbleSize val="0"/>
            </c:dLbl>
            <c:dLbl>
              <c:idx val="3"/>
              <c:tx>
                <c:rich>
                  <a:bodyPr/>
                  <a:lstStyle/>
                  <a:p>
                    <a:r>
                      <a:t>319.96</a:t>
                    </a:r>
                  </a:p>
                </c:rich>
              </c:tx>
              <c:dLblPos val="t"/>
              <c:showLegendKey val="0"/>
              <c:showVal val="1"/>
              <c:showCatName val="0"/>
              <c:showSerName val="0"/>
              <c:showPercent val="0"/>
              <c:showBubbleSize val="0"/>
            </c:dLbl>
            <c:dLbl>
              <c:idx val="4"/>
              <c:tx>
                <c:rich>
                  <a:bodyPr/>
                  <a:lstStyle/>
                  <a:p>
                    <a:r>
                      <a:t>345.63</a:t>
                    </a:r>
                  </a:p>
                </c:rich>
              </c:tx>
              <c:dLblPos val="t"/>
              <c:showLegendKey val="0"/>
              <c:showVal val="1"/>
              <c:showCatName val="0"/>
              <c:showSerName val="0"/>
              <c:showPercent val="0"/>
              <c:showBubbleSize val="0"/>
            </c:dLbl>
            <c:dLbl>
              <c:idx val="5"/>
              <c:tx>
                <c:rich>
                  <a:bodyPr/>
                  <a:lstStyle/>
                  <a:p>
                    <a:r>
                      <a:t>398.73</a:t>
                    </a:r>
                  </a:p>
                </c:rich>
              </c:tx>
              <c:dLblPos val="t"/>
              <c:showLegendKey val="0"/>
              <c:showVal val="1"/>
              <c:showCatName val="0"/>
              <c:showSerName val="0"/>
              <c:showPercent val="0"/>
              <c:showBubbleSize val="0"/>
            </c:dLbl>
            <c:dLbl>
              <c:idx val="6"/>
              <c:tx>
                <c:rich>
                  <a:bodyPr/>
                  <a:lstStyle/>
                  <a:p>
                    <a:r>
                      <a:t>343.91</a:t>
                    </a:r>
                  </a:p>
                </c:rich>
              </c:tx>
              <c:dLblPos val="t"/>
              <c:showLegendKey val="0"/>
              <c:showVal val="1"/>
              <c:showCatName val="0"/>
              <c:showSerName val="0"/>
              <c:showPercent val="0"/>
              <c:showBubbleSize val="0"/>
            </c:dLbl>
            <c:dLbl>
              <c:idx val="7"/>
              <c:tx>
                <c:rich>
                  <a:bodyPr/>
                  <a:lstStyle/>
                  <a:p>
                    <a:r>
                      <a:t>102.13</a:t>
                    </a:r>
                  </a:p>
                </c:rich>
              </c:tx>
              <c:dLblPos val="t"/>
              <c:showLegendKey val="0"/>
              <c:showVal val="1"/>
              <c:showCatName val="0"/>
              <c:showSerName val="0"/>
              <c:showPercent val="0"/>
              <c:showBubbleSize val="0"/>
            </c:dLbl>
            <c:dLbl>
              <c:idx val="8"/>
              <c:tx>
                <c:rich>
                  <a:bodyPr/>
                  <a:lstStyle/>
                  <a:p>
                    <a:r>
                      <a:t>345.52</a:t>
                    </a:r>
                  </a:p>
                </c:rich>
              </c:tx>
              <c:dLblPos val="t"/>
              <c:showLegendKey val="0"/>
              <c:showVal val="1"/>
              <c:showCatName val="0"/>
              <c:showSerName val="0"/>
              <c:showPercent val="0"/>
              <c:showBubbleSize val="0"/>
            </c:dLbl>
            <c:dLbl>
              <c:idx val="9"/>
              <c:tx>
                <c:rich>
                  <a:bodyPr/>
                  <a:lstStyle/>
                  <a:p>
                    <a:r>
                      <a:t>337.37</a:t>
                    </a:r>
                  </a:p>
                </c:rich>
              </c:tx>
              <c:dLblPos val="t"/>
              <c:showLegendKey val="0"/>
              <c:showVal val="1"/>
              <c:showCatName val="0"/>
              <c:showSerName val="0"/>
              <c:showPercent val="0"/>
              <c:showBubbleSize val="0"/>
            </c:dLbl>
            <c:dLbl>
              <c:idx val="10"/>
              <c:tx>
                <c:rich>
                  <a:bodyPr/>
                  <a:lstStyle/>
                  <a:p>
                    <a:r>
                      <a:t>257.6</a:t>
                    </a:r>
                  </a:p>
                </c:rich>
              </c:tx>
              <c:dLblPos val="t"/>
              <c:showLegendKey val="0"/>
              <c:showVal val="1"/>
              <c:showCatName val="0"/>
              <c:showSerName val="0"/>
              <c:showPercent val="0"/>
              <c:showBubbleSize val="0"/>
            </c:dLbl>
            <c:dLbl>
              <c:idx val="11"/>
              <c:tx>
                <c:rich>
                  <a:bodyPr/>
                  <a:lstStyle/>
                  <a:p>
                    <a:r>
                      <a:t>342.82</a:t>
                    </a:r>
                  </a:p>
                </c:rich>
              </c:tx>
              <c:dLblPos val="t"/>
              <c:showLegendKey val="0"/>
              <c:showVal val="1"/>
              <c:showCatName val="0"/>
              <c:showSerName val="0"/>
              <c:showPercent val="0"/>
              <c:showBubbleSize val="0"/>
            </c:dLbl>
            <c:dLbl>
              <c:idx val="12"/>
              <c:tx>
                <c:rich>
                  <a:bodyPr/>
                  <a:lstStyle/>
                  <a:p>
                    <a:r>
                      <a:t>349.39</a:t>
                    </a:r>
                  </a:p>
                </c:rich>
              </c:tx>
              <c:dLblPos val="t"/>
              <c:showLegendKey val="0"/>
              <c:showVal val="1"/>
              <c:showCatName val="0"/>
              <c:showSerName val="0"/>
              <c:showPercent val="0"/>
              <c:showBubbleSize val="0"/>
            </c:dLbl>
            <c:dLbl>
              <c:idx val="13"/>
              <c:tx>
                <c:rich>
                  <a:bodyPr/>
                  <a:lstStyle/>
                  <a:p>
                    <a:r>
                      <a:t>330.0</a:t>
                    </a:r>
                  </a:p>
                </c:rich>
              </c:tx>
              <c:dLblPos val="t"/>
              <c:showLegendKey val="0"/>
              <c:showVal val="1"/>
              <c:showCatName val="0"/>
              <c:showSerName val="0"/>
              <c:showPercent val="0"/>
              <c:showBubbleSize val="0"/>
            </c:dLbl>
            <c:dLbl>
              <c:idx val="14"/>
              <c:tx>
                <c:rich>
                  <a:bodyPr/>
                  <a:lstStyle/>
                  <a:p>
                    <a:r>
                      <a:t>302.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Spray Liquido 50+ 170Ml</c:v>
                </c:pt>
                <c:pt idx="1">
                  <c:v>Edgewell Banana Boat Dry Balance Sunscreen Adults Sport Spray Liquido 50 220Ml</c:v>
                </c:pt>
                <c:pt idx="2">
                  <c:v>Edgewell Banana Boat Advanced Protection Sunscreen Adults Cosmetics Liquido 50+ 60Ml</c:v>
                </c:pt>
                <c:pt idx="3">
                  <c:v>Edgewell Banana Boat Advanced Protection Sunscreen Adults Cosmetics Liquido 50+ 240Ml</c:v>
                </c:pt>
                <c:pt idx="4">
                  <c:v>Edgewell Banana Boat Mineral Sunscreen Kids Cosmetics Locion 50 180Ml</c:v>
                </c:pt>
                <c:pt idx="5">
                  <c:v>Edgewell Banana Boat Banded Pack Banded Pack 2X Sunscreen Multi 50+ 170Ml</c:v>
                </c:pt>
                <c:pt idx="6">
                  <c:v>Edgewell Banana Boat Mineral Sunscreen Adults Sport Locion 50 180Ml</c:v>
                </c:pt>
                <c:pt idx="7">
                  <c:v>Edgewell Banana Boat Dry Balance Sunscreen Adults Sport Locion 50+ 60Ml</c:v>
                </c:pt>
                <c:pt idx="8">
                  <c:v>Edgewell Banana Boat Mineral Sunscreen Adults Cosmetics Locion 50 180Ml</c:v>
                </c:pt>
                <c:pt idx="9">
                  <c:v>Edgewell Banana Boat Aqua Protect Sunscreen Adults Sport Crema 50+ 236Ml</c:v>
                </c:pt>
                <c:pt idx="10">
                  <c:v>Edgewell Banana Boat Dry Balance Sunscreen Adults Cosmetics Spray Crema 50+ 220Ml</c:v>
                </c:pt>
                <c:pt idx="11">
                  <c:v>Edgewell Banana Boat Aqua Protect Sunscreen Adults Cosmetics Crema 50+ 236Ml</c:v>
                </c:pt>
                <c:pt idx="12">
                  <c:v>Edgewell Banana Boat Dry Balance Sunscreen Adults Sport Crema 50+ 180Ml</c:v>
                </c:pt>
                <c:pt idx="13">
                  <c:v>Edgewell Banana Boat Kids Sport Sunscreen Kids Cosmetics Crema 50 180Ml</c:v>
                </c:pt>
                <c:pt idx="14">
                  <c:v>Edgewell Banana Boat Dry Balance Sunscreen Adults Cosmetics Crema 50+ 180Ml</c:v>
                </c:pt>
              </c:strCache>
            </c:strRef>
          </c:cat>
          <c:val>
            <c:numRef>
              <c:f>Sheet1!$B$2:$B$16</c:f>
              <c:numCache>
                <c:formatCode>General</c:formatCode>
                <c:ptCount val="15"/>
                <c:pt idx="0">
                  <c:v>327.72</c:v>
                </c:pt>
                <c:pt idx="1">
                  <c:v>332.96</c:v>
                </c:pt>
                <c:pt idx="2">
                  <c:v>81.09</c:v>
                </c:pt>
                <c:pt idx="3">
                  <c:v>319.96</c:v>
                </c:pt>
                <c:pt idx="4">
                  <c:v>345.63</c:v>
                </c:pt>
                <c:pt idx="5">
                  <c:v>398.73</c:v>
                </c:pt>
                <c:pt idx="6">
                  <c:v>343.91</c:v>
                </c:pt>
                <c:pt idx="7">
                  <c:v>102.13</c:v>
                </c:pt>
                <c:pt idx="8">
                  <c:v>345.52</c:v>
                </c:pt>
                <c:pt idx="9">
                  <c:v>337.37</c:v>
                </c:pt>
                <c:pt idx="10">
                  <c:v>257.6</c:v>
                </c:pt>
                <c:pt idx="11">
                  <c:v>342.82</c:v>
                </c:pt>
                <c:pt idx="12">
                  <c:v>349.39</c:v>
                </c:pt>
                <c:pt idx="13">
                  <c:v>330.0</c:v>
                </c:pt>
                <c:pt idx="14">
                  <c:v>30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68.66</a:t>
                    </a:r>
                  </a:p>
                </c:rich>
              </c:tx>
              <c:dLblPos val="t"/>
              <c:showLegendKey val="0"/>
              <c:showVal val="1"/>
              <c:showCatName val="0"/>
              <c:showSerName val="0"/>
              <c:showPercent val="0"/>
              <c:showBubbleSize val="0"/>
            </c:dLbl>
            <c:dLbl>
              <c:idx val="2"/>
              <c:tx>
                <c:rich>
                  <a:bodyPr/>
                  <a:lstStyle/>
                  <a:p>
                    <a:r>
                      <a:t>266.29</a:t>
                    </a:r>
                  </a:p>
                </c:rich>
              </c:tx>
              <c:dLblPos val="t"/>
              <c:showLegendKey val="0"/>
              <c:showVal val="1"/>
              <c:showCatName val="0"/>
              <c:showSerName val="0"/>
              <c:showPercent val="0"/>
              <c:showBubbleSize val="0"/>
            </c:dLbl>
            <c:dLbl>
              <c:idx val="3"/>
              <c:tx>
                <c:rich>
                  <a:bodyPr/>
                  <a:lstStyle/>
                  <a:p>
                    <a:r>
                      <a:t>203.8</a:t>
                    </a:r>
                  </a:p>
                </c:rich>
              </c:tx>
              <c:dLblPos val="t"/>
              <c:showLegendKey val="0"/>
              <c:showVal val="1"/>
              <c:showCatName val="0"/>
              <c:showSerName val="0"/>
              <c:showPercent val="0"/>
              <c:showBubbleSize val="0"/>
            </c:dLbl>
            <c:dLbl>
              <c:idx val="4"/>
              <c:tx>
                <c:rich>
                  <a:bodyPr/>
                  <a:lstStyle/>
                  <a:p>
                    <a:r>
                      <a:t>310.56</a:t>
                    </a:r>
                  </a:p>
                </c:rich>
              </c:tx>
              <c:dLblPos val="t"/>
              <c:showLegendKey val="0"/>
              <c:showVal val="1"/>
              <c:showCatName val="0"/>
              <c:showSerName val="0"/>
              <c:showPercent val="0"/>
              <c:showBubbleSize val="0"/>
            </c:dLbl>
            <c:dLbl>
              <c:idx val="5"/>
              <c:tx>
                <c:rich>
                  <a:bodyPr/>
                  <a:lstStyle/>
                  <a:p>
                    <a:r>
                      <a:t>220.0</a:t>
                    </a:r>
                  </a:p>
                </c:rich>
              </c:tx>
              <c:dLblPos val="t"/>
              <c:showLegendKey val="0"/>
              <c:showVal val="1"/>
              <c:showCatName val="0"/>
              <c:showSerName val="0"/>
              <c:showPercent val="0"/>
              <c:showBubbleSize val="0"/>
            </c:dLbl>
            <c:dLbl>
              <c:idx val="6"/>
              <c:tx>
                <c:rich>
                  <a:bodyPr/>
                  <a:lstStyle/>
                  <a:p>
                    <a:r>
                      <a:t>249.96</a:t>
                    </a:r>
                  </a:p>
                </c:rich>
              </c:tx>
              <c:dLblPos val="t"/>
              <c:showLegendKey val="0"/>
              <c:showVal val="1"/>
              <c:showCatName val="0"/>
              <c:showSerName val="0"/>
              <c:showPercent val="0"/>
              <c:showBubbleSize val="0"/>
            </c:dLbl>
            <c:dLbl>
              <c:idx val="7"/>
              <c:tx>
                <c:rich>
                  <a:bodyPr/>
                  <a:lstStyle/>
                  <a:p>
                    <a:r>
                      <a:t>282.97</a:t>
                    </a:r>
                  </a:p>
                </c:rich>
              </c:tx>
              <c:dLblPos val="t"/>
              <c:showLegendKey val="0"/>
              <c:showVal val="1"/>
              <c:showCatName val="0"/>
              <c:showSerName val="0"/>
              <c:showPercent val="0"/>
              <c:showBubbleSize val="0"/>
            </c:dLbl>
            <c:dLbl>
              <c:idx val="8"/>
              <c:tx>
                <c:rich>
                  <a:bodyPr/>
                  <a:lstStyle/>
                  <a:p>
                    <a:r>
                      <a:t>213.0</a:t>
                    </a:r>
                  </a:p>
                </c:rich>
              </c:tx>
              <c:dLblPos val="t"/>
              <c:showLegendKey val="0"/>
              <c:showVal val="1"/>
              <c:showCatName val="0"/>
              <c:showSerName val="0"/>
              <c:showPercent val="0"/>
              <c:showBubbleSize val="0"/>
            </c:dLbl>
            <c:dLbl>
              <c:idx val="9"/>
              <c:tx>
                <c:rich>
                  <a:bodyPr/>
                  <a:lstStyle/>
                  <a:p>
                    <a:r>
                      <a:t>125.0</a:t>
                    </a:r>
                  </a:p>
                </c:rich>
              </c:tx>
              <c:dLblPos val="t"/>
              <c:showLegendKey val="0"/>
              <c:showVal val="1"/>
              <c:showCatName val="0"/>
              <c:showSerName val="0"/>
              <c:showPercent val="0"/>
              <c:showBubbleSize val="0"/>
            </c:dLbl>
            <c:dLbl>
              <c:idx val="10"/>
              <c:tx>
                <c:rich>
                  <a:bodyPr/>
                  <a:lstStyle/>
                  <a:p>
                    <a:r>
                      <a:t>265.52</a:t>
                    </a:r>
                  </a:p>
                </c:rich>
              </c:tx>
              <c:dLblPos val="t"/>
              <c:showLegendKey val="0"/>
              <c:showVal val="1"/>
              <c:showCatName val="0"/>
              <c:showSerName val="0"/>
              <c:showPercent val="0"/>
              <c:showBubbleSize val="0"/>
            </c:dLbl>
            <c:dLbl>
              <c:idx val="11"/>
              <c:tx>
                <c:rich>
                  <a:bodyPr/>
                  <a:lstStyle/>
                  <a:p>
                    <a:r>
                      <a:t>93.72</a:t>
                    </a:r>
                  </a:p>
                </c:rich>
              </c:tx>
              <c:dLblPos val="t"/>
              <c:showLegendKey val="0"/>
              <c:showVal val="1"/>
              <c:showCatName val="0"/>
              <c:showSerName val="0"/>
              <c:showPercent val="0"/>
              <c:showBubbleSize val="0"/>
            </c:dLbl>
            <c:dLbl>
              <c:idx val="12"/>
              <c:tx>
                <c:rich>
                  <a:bodyPr/>
                  <a:lstStyle/>
                  <a:p>
                    <a:r>
                      <a:t>248.86</a:t>
                    </a:r>
                  </a:p>
                </c:rich>
              </c:tx>
              <c:dLblPos val="t"/>
              <c:showLegendKey val="0"/>
              <c:showVal val="1"/>
              <c:showCatName val="0"/>
              <c:showSerName val="0"/>
              <c:showPercent val="0"/>
              <c:showBubbleSize val="0"/>
            </c:dLbl>
            <c:dLbl>
              <c:idx val="13"/>
              <c:tx>
                <c:rich>
                  <a:bodyPr/>
                  <a:lstStyle/>
                  <a:p>
                    <a:r>
                      <a:t>195.0</a:t>
                    </a:r>
                  </a:p>
                </c:rich>
              </c:tx>
              <c:dLblPos val="t"/>
              <c:showLegendKey val="0"/>
              <c:showVal val="1"/>
              <c:showCatName val="0"/>
              <c:showSerName val="0"/>
              <c:showPercent val="0"/>
              <c:showBubbleSize val="0"/>
            </c:dLbl>
            <c:dLbl>
              <c:idx val="14"/>
              <c:tx>
                <c:rich>
                  <a:bodyPr/>
                  <a:lstStyle/>
                  <a:p>
                    <a:r>
                      <a:t>201.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Banana Boat Aqua Protect Sunscreen Adults Sport Crema 50+ 236Ml</c:v>
                </c:pt>
                <c:pt idx="2">
                  <c:v>Edgewell Banana Boat Dry Balance Sunscreen Adults Sport Crema 50+ 180Ml</c:v>
                </c:pt>
                <c:pt idx="3">
                  <c:v>Edgewell Banana Boat Bloqueador Sunscreen Adults Cosmetics Crema 50 236Ml</c:v>
                </c:pt>
                <c:pt idx="4">
                  <c:v>Edgewell Banana Boat Banded Pack Banded Pack 2X Sunscreen Multi 50+ 170Ml</c:v>
                </c:pt>
                <c:pt idx="5">
                  <c:v>Edgewell Banana Boat Mineral Sunscreen Adults Sport Locion 50 180Ml</c:v>
                </c:pt>
                <c:pt idx="6">
                  <c:v>Edgewell Banana Boat Mineral Sunscreen Adults Cosmetics Locion 50 60Ml</c:v>
                </c:pt>
                <c:pt idx="7">
                  <c:v>Edgewell Banana Boat Baby Sunscreen Baby Cosmetics Locion 50 180Ml</c:v>
                </c:pt>
                <c:pt idx="8">
                  <c:v>Edgewell Banana Boat Mineral Sunscreen Kids Cosmetics Locion 50 180Ml</c:v>
                </c:pt>
                <c:pt idx="9">
                  <c:v>Edgewell Banana Boat Gentle Protect Sunscreen Adults Cosmetics Locion 50 180Ml</c:v>
                </c:pt>
                <c:pt idx="10">
                  <c:v>Edgewell Banana Boat Banded Pack Banded Pack 2X Sunscreen Multi 50+ 236Ml</c:v>
                </c:pt>
                <c:pt idx="11">
                  <c:v>Edgewell Banana Boat Advanced Protection Sunscreen Adults Cosmetics Liquido 50+ 60Ml</c:v>
                </c:pt>
                <c:pt idx="12">
                  <c:v>Edgewell Banana Boat Advanced Protection Sunscreen Adults Sport Liquido 50 180Ml</c:v>
                </c:pt>
                <c:pt idx="13">
                  <c:v>Edgewell Banana Boat Gentle Protect Sunscreen Kids Cosmetics Spray Liquido 50+ 170Ml</c:v>
                </c:pt>
                <c:pt idx="14">
                  <c:v>Edgewell Banana Boat Advanced Protection Sunscreen Adults Cosmetics Liquido 50+ 240Ml</c:v>
                </c:pt>
              </c:strCache>
            </c:strRef>
          </c:cat>
          <c:val>
            <c:numRef>
              <c:f>Sheet1!$B$2:$B$16</c:f>
              <c:numCache>
                <c:formatCode>General</c:formatCode>
                <c:ptCount val="15"/>
                <c:pt idx="0">
                  <c:v>240.0</c:v>
                </c:pt>
                <c:pt idx="1">
                  <c:v>268.66</c:v>
                </c:pt>
                <c:pt idx="2">
                  <c:v>266.29</c:v>
                </c:pt>
                <c:pt idx="3">
                  <c:v>203.8</c:v>
                </c:pt>
                <c:pt idx="4">
                  <c:v>310.56</c:v>
                </c:pt>
                <c:pt idx="5">
                  <c:v>220.0</c:v>
                </c:pt>
                <c:pt idx="6">
                  <c:v>249.96</c:v>
                </c:pt>
                <c:pt idx="7">
                  <c:v>282.97</c:v>
                </c:pt>
                <c:pt idx="8">
                  <c:v>213.0</c:v>
                </c:pt>
                <c:pt idx="9">
                  <c:v>125.0</c:v>
                </c:pt>
                <c:pt idx="10">
                  <c:v>265.52</c:v>
                </c:pt>
                <c:pt idx="11">
                  <c:v>93.72</c:v>
                </c:pt>
                <c:pt idx="12">
                  <c:v>248.86</c:v>
                </c:pt>
                <c:pt idx="13">
                  <c:v>195.0</c:v>
                </c:pt>
                <c:pt idx="14">
                  <c:v>201.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7.77</a:t>
                    </a:r>
                  </a:p>
                </c:rich>
              </c:tx>
              <c:dLblPos val="t"/>
              <c:showLegendKey val="0"/>
              <c:showVal val="1"/>
              <c:showCatName val="0"/>
              <c:showSerName val="0"/>
              <c:showPercent val="0"/>
              <c:showBubbleSize val="0"/>
            </c:dLbl>
            <c:dLbl>
              <c:idx val="1"/>
              <c:tx>
                <c:rich>
                  <a:bodyPr/>
                  <a:lstStyle/>
                  <a:p>
                    <a:r>
                      <a:t>264.78</a:t>
                    </a:r>
                  </a:p>
                </c:rich>
              </c:tx>
              <c:dLblPos val="t"/>
              <c:showLegendKey val="0"/>
              <c:showVal val="1"/>
              <c:showCatName val="0"/>
              <c:showSerName val="0"/>
              <c:showPercent val="0"/>
              <c:showBubbleSize val="0"/>
            </c:dLbl>
            <c:dLbl>
              <c:idx val="2"/>
              <c:tx>
                <c:rich>
                  <a:bodyPr/>
                  <a:lstStyle/>
                  <a:p>
                    <a:r>
                      <a:t>306.36</a:t>
                    </a:r>
                  </a:p>
                </c:rich>
              </c:tx>
              <c:dLblPos val="t"/>
              <c:showLegendKey val="0"/>
              <c:showVal val="1"/>
              <c:showCatName val="0"/>
              <c:showSerName val="0"/>
              <c:showPercent val="0"/>
              <c:showBubbleSize val="0"/>
            </c:dLbl>
            <c:dLbl>
              <c:idx val="3"/>
              <c:tx>
                <c:rich>
                  <a:bodyPr/>
                  <a:lstStyle/>
                  <a:p>
                    <a:r>
                      <a:t>306.48</a:t>
                    </a:r>
                  </a:p>
                </c:rich>
              </c:tx>
              <c:dLblPos val="t"/>
              <c:showLegendKey val="0"/>
              <c:showVal val="1"/>
              <c:showCatName val="0"/>
              <c:showSerName val="0"/>
              <c:showPercent val="0"/>
              <c:showBubbleSize val="0"/>
            </c:dLbl>
            <c:dLbl>
              <c:idx val="4"/>
              <c:tx>
                <c:rich>
                  <a:bodyPr/>
                  <a:lstStyle/>
                  <a:p>
                    <a:r>
                      <a:t>305.8</a:t>
                    </a:r>
                  </a:p>
                </c:rich>
              </c:tx>
              <c:dLblPos val="t"/>
              <c:showLegendKey val="0"/>
              <c:showVal val="1"/>
              <c:showCatName val="0"/>
              <c:showSerName val="0"/>
              <c:showPercent val="0"/>
              <c:showBubbleSize val="0"/>
            </c:dLbl>
            <c:dLbl>
              <c:idx val="5"/>
              <c:tx>
                <c:rich>
                  <a:bodyPr/>
                  <a:lstStyle/>
                  <a:p>
                    <a:r>
                      <a:t>276.32</a:t>
                    </a:r>
                  </a:p>
                </c:rich>
              </c:tx>
              <c:dLblPos val="t"/>
              <c:showLegendKey val="0"/>
              <c:showVal val="1"/>
              <c:showCatName val="0"/>
              <c:showSerName val="0"/>
              <c:showPercent val="0"/>
              <c:showBubbleSize val="0"/>
            </c:dLbl>
            <c:dLbl>
              <c:idx val="6"/>
              <c:tx>
                <c:rich>
                  <a:bodyPr/>
                  <a:lstStyle/>
                  <a:p>
                    <a:r>
                      <a:t>270.79</a:t>
                    </a:r>
                  </a:p>
                </c:rich>
              </c:tx>
              <c:dLblPos val="t"/>
              <c:showLegendKey val="0"/>
              <c:showVal val="1"/>
              <c:showCatName val="0"/>
              <c:showSerName val="0"/>
              <c:showPercent val="0"/>
              <c:showBubbleSize val="0"/>
            </c:dLbl>
            <c:dLbl>
              <c:idx val="7"/>
              <c:tx>
                <c:rich>
                  <a:bodyPr/>
                  <a:lstStyle/>
                  <a:p>
                    <a:r>
                      <a:t>271.52</a:t>
                    </a:r>
                  </a:p>
                </c:rich>
              </c:tx>
              <c:dLblPos val="t"/>
              <c:showLegendKey val="0"/>
              <c:showVal val="1"/>
              <c:showCatName val="0"/>
              <c:showSerName val="0"/>
              <c:showPercent val="0"/>
              <c:showBubbleSize val="0"/>
            </c:dLbl>
            <c:dLbl>
              <c:idx val="8"/>
              <c:tx>
                <c:rich>
                  <a:bodyPr/>
                  <a:lstStyle/>
                  <a:p>
                    <a:r>
                      <a:t>240.01</a:t>
                    </a:r>
                  </a:p>
                </c:rich>
              </c:tx>
              <c:dLblPos val="t"/>
              <c:showLegendKey val="0"/>
              <c:showVal val="1"/>
              <c:showCatName val="0"/>
              <c:showSerName val="0"/>
              <c:showPercent val="0"/>
              <c:showBubbleSize val="0"/>
            </c:dLbl>
            <c:dLbl>
              <c:idx val="9"/>
              <c:tx>
                <c:rich>
                  <a:bodyPr/>
                  <a:lstStyle/>
                  <a:p>
                    <a:r>
                      <a:t>287.58</a:t>
                    </a:r>
                  </a:p>
                </c:rich>
              </c:tx>
              <c:dLblPos val="t"/>
              <c:showLegendKey val="0"/>
              <c:showVal val="1"/>
              <c:showCatName val="0"/>
              <c:showSerName val="0"/>
              <c:showPercent val="0"/>
              <c:showBubbleSize val="0"/>
            </c:dLbl>
            <c:dLbl>
              <c:idx val="10"/>
              <c:tx>
                <c:rich>
                  <a:bodyPr/>
                  <a:lstStyle/>
                  <a:p>
                    <a:r>
                      <a:t>308.34</a:t>
                    </a:r>
                  </a:p>
                </c:rich>
              </c:tx>
              <c:dLblPos val="t"/>
              <c:showLegendKey val="0"/>
              <c:showVal val="1"/>
              <c:showCatName val="0"/>
              <c:showSerName val="0"/>
              <c:showPercent val="0"/>
              <c:showBubbleSize val="0"/>
            </c:dLbl>
            <c:dLbl>
              <c:idx val="11"/>
              <c:tx>
                <c:rich>
                  <a:bodyPr/>
                  <a:lstStyle/>
                  <a:p>
                    <a:r>
                      <a:t>308.61</a:t>
                    </a:r>
                  </a:p>
                </c:rich>
              </c:tx>
              <c:dLblPos val="t"/>
              <c:showLegendKey val="0"/>
              <c:showVal val="1"/>
              <c:showCatName val="0"/>
              <c:showSerName val="0"/>
              <c:showPercent val="0"/>
              <c:showBubbleSize val="0"/>
            </c:dLbl>
            <c:dLbl>
              <c:idx val="12"/>
              <c:tx>
                <c:rich>
                  <a:bodyPr/>
                  <a:lstStyle/>
                  <a:p>
                    <a:r>
                      <a:t>275.98</a:t>
                    </a:r>
                  </a:p>
                </c:rich>
              </c:tx>
              <c:dLblPos val="t"/>
              <c:showLegendKey val="0"/>
              <c:showVal val="1"/>
              <c:showCatName val="0"/>
              <c:showSerName val="0"/>
              <c:showPercent val="0"/>
              <c:showBubbleSize val="0"/>
            </c:dLbl>
            <c:dLbl>
              <c:idx val="13"/>
              <c:tx>
                <c:rich>
                  <a:bodyPr/>
                  <a:lstStyle/>
                  <a:p>
                    <a:r>
                      <a:t>87.0</a:t>
                    </a:r>
                  </a:p>
                </c:rich>
              </c:tx>
              <c:dLblPos val="t"/>
              <c:showLegendKey val="0"/>
              <c:showVal val="1"/>
              <c:showCatName val="0"/>
              <c:showSerName val="0"/>
              <c:showPercent val="0"/>
              <c:showBubbleSize val="0"/>
            </c:dLbl>
            <c:dLbl>
              <c:idx val="14"/>
              <c:tx>
                <c:rich>
                  <a:bodyPr/>
                  <a:lstStyle/>
                  <a:p>
                    <a:r>
                      <a:t>246.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Banded Pack Banded Pack 2X Sunscreen Multi 50+ 170Ml</c:v>
                </c:pt>
                <c:pt idx="1">
                  <c:v>Edgewell Banana Boat Banded Pack Banded Pack 2X Sunscreen Multi 50+ 236Ml</c:v>
                </c:pt>
                <c:pt idx="2">
                  <c:v>Edgewell Banana Boat Mineral Sunscreen Adults Cosmetics Locion 50 180Ml</c:v>
                </c:pt>
                <c:pt idx="3">
                  <c:v>Edgewell Banana Boat Mineral Sunscreen Adults Sport Locion 50 180Ml</c:v>
                </c:pt>
                <c:pt idx="4">
                  <c:v>Edgewell Banana Boat Mineral Sunscreen Kids Cosmetics Locion 50 180Ml</c:v>
                </c:pt>
                <c:pt idx="5">
                  <c:v>Edgewell Banana Boat Mineral Sunscreen Adults Cosmetics Locion 50 60Ml</c:v>
                </c:pt>
                <c:pt idx="6">
                  <c:v>Edgewell Banana Boat Aqua Protect Sunscreen Adults Sport Crema 50+ 236Ml</c:v>
                </c:pt>
                <c:pt idx="7">
                  <c:v>Edgewell Banana Boat Aqua Protect Sunscreen Adults Cosmetics Crema 50+ 236Ml</c:v>
                </c:pt>
                <c:pt idx="8">
                  <c:v>Edgewell Banana Boat Kids Sport Sunscreen Kids Cosmetics Crema 50 180Ml</c:v>
                </c:pt>
                <c:pt idx="9">
                  <c:v>Edgewell Banana Boat Dry Balance Sunscreen Adults Sport Crema 50+ 180Ml</c:v>
                </c:pt>
                <c:pt idx="10">
                  <c:v>Edgewell Banana Boat Dry Balance Sunscreen Adults Sport Spray Liquido 50 220Ml</c:v>
                </c:pt>
                <c:pt idx="11">
                  <c:v>Edgewell Banana Boat Aqua Protect Sunscreen Adults Cosmetics Spray Liquido 50+ 170Ml</c:v>
                </c:pt>
                <c:pt idx="12">
                  <c:v>Edgewell Banana Boat Advanced Protection Sunscreen Adults Cosmetics Liquido 50+ 240Ml</c:v>
                </c:pt>
                <c:pt idx="13">
                  <c:v>Edgewell Banana Boat Advanced Protection Sunscreen Adults Cosmetics Liquido 50+ 60Ml</c:v>
                </c:pt>
                <c:pt idx="14">
                  <c:v>Edgewell Banana Boat Advanced Protection Sunscreen Adults Cosmetics Liquido 50 180Ml</c:v>
                </c:pt>
              </c:strCache>
            </c:strRef>
          </c:cat>
          <c:val>
            <c:numRef>
              <c:f>Sheet1!$B$2:$B$16</c:f>
              <c:numCache>
                <c:formatCode>General</c:formatCode>
                <c:ptCount val="15"/>
                <c:pt idx="0">
                  <c:v>307.77</c:v>
                </c:pt>
                <c:pt idx="1">
                  <c:v>264.78</c:v>
                </c:pt>
                <c:pt idx="2">
                  <c:v>306.36</c:v>
                </c:pt>
                <c:pt idx="3">
                  <c:v>306.48</c:v>
                </c:pt>
                <c:pt idx="4">
                  <c:v>305.8</c:v>
                </c:pt>
                <c:pt idx="5">
                  <c:v>276.32</c:v>
                </c:pt>
                <c:pt idx="6">
                  <c:v>270.79</c:v>
                </c:pt>
                <c:pt idx="7">
                  <c:v>271.52</c:v>
                </c:pt>
                <c:pt idx="8">
                  <c:v>240.01</c:v>
                </c:pt>
                <c:pt idx="9">
                  <c:v>287.58</c:v>
                </c:pt>
                <c:pt idx="10">
                  <c:v>308.34</c:v>
                </c:pt>
                <c:pt idx="11">
                  <c:v>308.61</c:v>
                </c:pt>
                <c:pt idx="12">
                  <c:v>275.98</c:v>
                </c:pt>
                <c:pt idx="13">
                  <c:v>87.0</c:v>
                </c:pt>
                <c:pt idx="14">
                  <c:v>246.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2.04</a:t>
                    </a:r>
                  </a:p>
                </c:rich>
              </c:tx>
              <c:dLblPos val="t"/>
              <c:showLegendKey val="0"/>
              <c:showVal val="1"/>
              <c:showCatName val="0"/>
              <c:showSerName val="0"/>
              <c:showPercent val="0"/>
              <c:showBubbleSize val="0"/>
            </c:dLbl>
            <c:dLbl>
              <c:idx val="1"/>
              <c:tx>
                <c:rich>
                  <a:bodyPr/>
                  <a:lstStyle/>
                  <a:p>
                    <a:r>
                      <a:t>259.27</a:t>
                    </a:r>
                  </a:p>
                </c:rich>
              </c:tx>
              <c:dLblPos val="t"/>
              <c:showLegendKey val="0"/>
              <c:showVal val="1"/>
              <c:showCatName val="0"/>
              <c:showSerName val="0"/>
              <c:showPercent val="0"/>
              <c:showBubbleSize val="0"/>
            </c:dLbl>
            <c:dLbl>
              <c:idx val="2"/>
              <c:tx>
                <c:rich>
                  <a:bodyPr/>
                  <a:lstStyle/>
                  <a:p>
                    <a:r>
                      <a:t>245.05</a:t>
                    </a:r>
                  </a:p>
                </c:rich>
              </c:tx>
              <c:dLblPos val="t"/>
              <c:showLegendKey val="0"/>
              <c:showVal val="1"/>
              <c:showCatName val="0"/>
              <c:showSerName val="0"/>
              <c:showPercent val="0"/>
              <c:showBubbleSize val="0"/>
            </c:dLbl>
            <c:dLbl>
              <c:idx val="3"/>
              <c:tx>
                <c:rich>
                  <a:bodyPr/>
                  <a:lstStyle/>
                  <a:p>
                    <a:r>
                      <a:t>216.5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52.04</c:v>
                </c:pt>
                <c:pt idx="1">
                  <c:v>259.27</c:v>
                </c:pt>
                <c:pt idx="2">
                  <c:v>245.05</c:v>
                </c:pt>
                <c:pt idx="3">
                  <c:v>216.5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8.21</a:t>
                    </a:r>
                  </a:p>
                </c:rich>
              </c:tx>
              <c:dLblPos val="t"/>
              <c:showLegendKey val="0"/>
              <c:showVal val="1"/>
              <c:showCatName val="0"/>
              <c:showSerName val="0"/>
              <c:showPercent val="0"/>
              <c:showBubbleSize val="0"/>
            </c:dLbl>
            <c:dLbl>
              <c:idx val="1"/>
              <c:tx>
                <c:rich>
                  <a:bodyPr/>
                  <a:lstStyle/>
                  <a:p>
                    <a:r>
                      <a:t>268.65</a:t>
                    </a:r>
                  </a:p>
                </c:rich>
              </c:tx>
              <c:dLblPos val="t"/>
              <c:showLegendKey val="0"/>
              <c:showVal val="1"/>
              <c:showCatName val="0"/>
              <c:showSerName val="0"/>
              <c:showPercent val="0"/>
              <c:showBubbleSize val="0"/>
            </c:dLbl>
            <c:dLbl>
              <c:idx val="2"/>
              <c:tx>
                <c:rich>
                  <a:bodyPr/>
                  <a:lstStyle/>
                  <a:p>
                    <a:r>
                      <a:t>263.78</a:t>
                    </a:r>
                  </a:p>
                </c:rich>
              </c:tx>
              <c:dLblPos val="t"/>
              <c:showLegendKey val="0"/>
              <c:showVal val="1"/>
              <c:showCatName val="0"/>
              <c:showSerName val="0"/>
              <c:showPercent val="0"/>
              <c:showBubbleSize val="0"/>
            </c:dLbl>
            <c:dLbl>
              <c:idx val="3"/>
              <c:tx>
                <c:rich>
                  <a:bodyPr/>
                  <a:lstStyle/>
                  <a:p>
                    <a:r>
                      <a:t>234.97</a:t>
                    </a:r>
                  </a:p>
                </c:rich>
              </c:tx>
              <c:dLblPos val="t"/>
              <c:showLegendKey val="0"/>
              <c:showVal val="1"/>
              <c:showCatName val="0"/>
              <c:showSerName val="0"/>
              <c:showPercent val="0"/>
              <c:showBubbleSize val="0"/>
            </c:dLbl>
            <c:dLbl>
              <c:idx val="4"/>
              <c:tx>
                <c:rich>
                  <a:bodyPr/>
                  <a:lstStyle/>
                  <a:p>
                    <a:r>
                      <a:t>397.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pt idx="4">
                  <c:v>Edgewell Beauty Care Sensitive Sunscreen Adults Cosmetics Liquido 50+ 180Ml</c:v>
                </c:pt>
              </c:strCache>
            </c:strRef>
          </c:cat>
          <c:val>
            <c:numRef>
              <c:f>Sheet1!$B$2:$B$6</c:f>
              <c:numCache>
                <c:formatCode>General</c:formatCode>
                <c:ptCount val="5"/>
                <c:pt idx="0">
                  <c:v>268.21</c:v>
                </c:pt>
                <c:pt idx="1">
                  <c:v>268.65</c:v>
                </c:pt>
                <c:pt idx="2">
                  <c:v>263.78</c:v>
                </c:pt>
                <c:pt idx="3">
                  <c:v>234.97</c:v>
                </c:pt>
                <c:pt idx="4">
                  <c:v>397.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75.48</a:t>
                    </a:r>
                  </a:p>
                </c:rich>
              </c:tx>
              <c:dLblPos val="t"/>
              <c:showLegendKey val="0"/>
              <c:showVal val="1"/>
              <c:showCatName val="0"/>
              <c:showSerName val="0"/>
              <c:showPercent val="0"/>
              <c:showBubbleSize val="0"/>
            </c:dLbl>
            <c:dLbl>
              <c:idx val="1"/>
              <c:tx>
                <c:rich>
                  <a:bodyPr/>
                  <a:lstStyle/>
                  <a:p>
                    <a:r>
                      <a:t>351.2</a:t>
                    </a:r>
                  </a:p>
                </c:rich>
              </c:tx>
              <c:dLblPos val="t"/>
              <c:showLegendKey val="0"/>
              <c:showVal val="1"/>
              <c:showCatName val="0"/>
              <c:showSerName val="0"/>
              <c:showPercent val="0"/>
              <c:showBubbleSize val="0"/>
            </c:dLbl>
            <c:dLbl>
              <c:idx val="2"/>
              <c:tx>
                <c:rich>
                  <a:bodyPr/>
                  <a:lstStyle/>
                  <a:p>
                    <a:r>
                      <a:t>370.13</a:t>
                    </a:r>
                  </a:p>
                </c:rich>
              </c:tx>
              <c:dLblPos val="t"/>
              <c:showLegendKey val="0"/>
              <c:showVal val="1"/>
              <c:showCatName val="0"/>
              <c:showSerName val="0"/>
              <c:showPercent val="0"/>
              <c:showBubbleSize val="0"/>
            </c:dLbl>
            <c:dLbl>
              <c:idx val="3"/>
              <c:tx>
                <c:rich>
                  <a:bodyPr/>
                  <a:lstStyle/>
                  <a:p>
                    <a:r>
                      <a:t>398.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Antioxidant Sunscreen Adults Cosmetics Liquido 50+ 50Ml</c:v>
                </c:pt>
                <c:pt idx="1">
                  <c:v>Edgewell Beauty Care Sensitive Sunscreen Adults Cosmetics Liquido 50+ 50Ml</c:v>
                </c:pt>
                <c:pt idx="2">
                  <c:v>Edgewell Beauty Care Matte Sunscreen Adults Cosmetics Liquido 30 50Ml</c:v>
                </c:pt>
                <c:pt idx="3">
                  <c:v>Edgewell Beauty Care Sensitive Sunscreen Adults Cosmetics Liquido 50+ 180Ml</c:v>
                </c:pt>
              </c:strCache>
            </c:strRef>
          </c:cat>
          <c:val>
            <c:numRef>
              <c:f>Sheet1!$B$2:$B$5</c:f>
              <c:numCache>
                <c:formatCode>General</c:formatCode>
                <c:ptCount val="4"/>
                <c:pt idx="0">
                  <c:v>375.48</c:v>
                </c:pt>
                <c:pt idx="1">
                  <c:v>351.2</c:v>
                </c:pt>
                <c:pt idx="2">
                  <c:v>370.13</c:v>
                </c:pt>
                <c:pt idx="3">
                  <c:v>398.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6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eauty Care Antioxidant Sunscreen Adults Cosmetics Liquido 15 - 19 100Ml</c:v>
                </c:pt>
              </c:strCache>
            </c:strRef>
          </c:cat>
          <c:val>
            <c:numRef>
              <c:f>Sheet1!$B$2:$B$2</c:f>
              <c:numCache>
                <c:formatCode>General</c:formatCode>
                <c:ptCount val="1"/>
                <c:pt idx="0">
                  <c:v>224.6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4.19</a:t>
                    </a:r>
                  </a:p>
                </c:rich>
              </c:tx>
              <c:dLblPos val="t"/>
              <c:showLegendKey val="0"/>
              <c:showVal val="1"/>
              <c:showCatName val="0"/>
              <c:showSerName val="0"/>
              <c:showPercent val="0"/>
              <c:showBubbleSize val="0"/>
            </c:dLbl>
            <c:dLbl>
              <c:idx val="1"/>
              <c:tx>
                <c:rich>
                  <a:bodyPr/>
                  <a:lstStyle/>
                  <a:p>
                    <a:r>
                      <a:t>263.8</a:t>
                    </a:r>
                  </a:p>
                </c:rich>
              </c:tx>
              <c:dLblPos val="t"/>
              <c:showLegendKey val="0"/>
              <c:showVal val="1"/>
              <c:showCatName val="0"/>
              <c:showSerName val="0"/>
              <c:showPercent val="0"/>
              <c:showBubbleSize val="0"/>
            </c:dLbl>
            <c:dLbl>
              <c:idx val="2"/>
              <c:tx>
                <c:rich>
                  <a:bodyPr/>
                  <a:lstStyle/>
                  <a:p>
                    <a:r>
                      <a:t>260.44</a:t>
                    </a:r>
                  </a:p>
                </c:rich>
              </c:tx>
              <c:dLblPos val="t"/>
              <c:showLegendKey val="0"/>
              <c:showVal val="1"/>
              <c:showCatName val="0"/>
              <c:showSerName val="0"/>
              <c:showPercent val="0"/>
              <c:showBubbleSize val="0"/>
            </c:dLbl>
            <c:dLbl>
              <c:idx val="3"/>
              <c:tx>
                <c:rich>
                  <a:bodyPr/>
                  <a:lstStyle/>
                  <a:p>
                    <a:r>
                      <a:t>232.5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eauty Care Sensitive Sunscreen Adults Cosmetics Liquido 50+ 50Ml</c:v>
                </c:pt>
                <c:pt idx="1">
                  <c:v>Edgewell Beauty Care Antioxidant Sunscreen Adults Cosmetics Liquido 50+ 50Ml</c:v>
                </c:pt>
                <c:pt idx="2">
                  <c:v>Edgewell Beauty Care Matte Sunscreen Adults Cosmetics Liquido 30 50Ml</c:v>
                </c:pt>
                <c:pt idx="3">
                  <c:v>Edgewell Beauty Care Antioxidant Sunscreen Adults Cosmetics Liquido 15 - 19 100Ml</c:v>
                </c:pt>
              </c:strCache>
            </c:strRef>
          </c:cat>
          <c:val>
            <c:numRef>
              <c:f>Sheet1!$B$2:$B$5</c:f>
              <c:numCache>
                <c:formatCode>General</c:formatCode>
                <c:ptCount val="4"/>
                <c:pt idx="0">
                  <c:v>264.19</c:v>
                </c:pt>
                <c:pt idx="1">
                  <c:v>263.8</c:v>
                </c:pt>
                <c:pt idx="2">
                  <c:v>260.44</c:v>
                </c:pt>
                <c:pt idx="3">
                  <c:v>232.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dLblPos val="t"/>
              <c:showLegendKey val="0"/>
              <c:showVal val="1"/>
              <c:showCatName val="0"/>
              <c:showSerName val="0"/>
              <c:showPercent val="0"/>
              <c:showBubbleSize val="0"/>
            </c:dLbl>
            <c:dLbl>
              <c:idx val="1"/>
              <c:tx>
                <c:rich>
                  <a:bodyPr/>
                  <a:lstStyle/>
                  <a:p>
                    <a:r>
                      <a:t>301.59</a:t>
                    </a:r>
                  </a:p>
                </c:rich>
              </c:tx>
              <c:dLblPos val="t"/>
              <c:showLegendKey val="0"/>
              <c:showVal val="1"/>
              <c:showCatName val="0"/>
              <c:showSerName val="0"/>
              <c:showPercent val="0"/>
              <c:showBubbleSize val="0"/>
            </c:dLbl>
            <c:dLbl>
              <c:idx val="2"/>
              <c:tx>
                <c:rich>
                  <a:bodyPr/>
                  <a:lstStyle/>
                  <a:p>
                    <a:r>
                      <a:t>296.61</a:t>
                    </a:r>
                  </a:p>
                </c:rich>
              </c:tx>
              <c:dLblPos val="t"/>
              <c:showLegendKey val="0"/>
              <c:showVal val="1"/>
              <c:showCatName val="0"/>
              <c:showSerName val="0"/>
              <c:showPercent val="0"/>
              <c:showBubbleSize val="0"/>
            </c:dLbl>
            <c:dLbl>
              <c:idx val="3"/>
              <c:tx>
                <c:rich>
                  <a:bodyPr/>
                  <a:lstStyle/>
                  <a:p>
                    <a:r>
                      <a:t>305.15</a:t>
                    </a:r>
                  </a:p>
                </c:rich>
              </c:tx>
              <c:dLblPos val="t"/>
              <c:showLegendKey val="0"/>
              <c:showVal val="1"/>
              <c:showCatName val="0"/>
              <c:showSerName val="0"/>
              <c:showPercent val="0"/>
              <c:showBubbleSize val="0"/>
            </c:dLbl>
            <c:dLbl>
              <c:idx val="4"/>
              <c:tx>
                <c:rich>
                  <a:bodyPr/>
                  <a:lstStyle/>
                  <a:p>
                    <a:r>
                      <a:t>326.36</a:t>
                    </a:r>
                  </a:p>
                </c:rich>
              </c:tx>
              <c:dLblPos val="t"/>
              <c:showLegendKey val="0"/>
              <c:showVal val="1"/>
              <c:showCatName val="0"/>
              <c:showSerName val="0"/>
              <c:showPercent val="0"/>
              <c:showBubbleSize val="0"/>
            </c:dLbl>
            <c:dLbl>
              <c:idx val="5"/>
              <c:tx>
                <c:rich>
                  <a:bodyPr/>
                  <a:lstStyle/>
                  <a:p>
                    <a:r>
                      <a:t>283.81</a:t>
                    </a:r>
                  </a:p>
                </c:rich>
              </c:tx>
              <c:dLblPos val="t"/>
              <c:showLegendKey val="0"/>
              <c:showVal val="1"/>
              <c:showCatName val="0"/>
              <c:showSerName val="0"/>
              <c:showPercent val="0"/>
              <c:showBubbleSize val="0"/>
            </c:dLbl>
            <c:dLbl>
              <c:idx val="6"/>
              <c:tx>
                <c:rich>
                  <a:bodyPr/>
                  <a:lstStyle/>
                  <a:p>
                    <a:r>
                      <a:t>302.86</a:t>
                    </a:r>
                  </a:p>
                </c:rich>
              </c:tx>
              <c:dLblPos val="t"/>
              <c:showLegendKey val="0"/>
              <c:showVal val="1"/>
              <c:showCatName val="0"/>
              <c:showSerName val="0"/>
              <c:showPercent val="0"/>
              <c:showBubbleSize val="0"/>
            </c:dLbl>
            <c:dLbl>
              <c:idx val="7"/>
              <c:tx>
                <c:rich>
                  <a:bodyPr/>
                  <a:lstStyle/>
                  <a:p>
                    <a:r>
                      <a:t>325.25</a:t>
                    </a:r>
                  </a:p>
                </c:rich>
              </c:tx>
              <c:dLblPos val="t"/>
              <c:showLegendKey val="0"/>
              <c:showVal val="1"/>
              <c:showCatName val="0"/>
              <c:showSerName val="0"/>
              <c:showPercent val="0"/>
              <c:showBubbleSize val="0"/>
            </c:dLbl>
            <c:dLbl>
              <c:idx val="8"/>
              <c:tx>
                <c:rich>
                  <a:bodyPr/>
                  <a:lstStyle/>
                  <a:p>
                    <a:r>
                      <a:t>307.23</a:t>
                    </a:r>
                  </a:p>
                </c:rich>
              </c:tx>
              <c:dLblPos val="t"/>
              <c:showLegendKey val="0"/>
              <c:showVal val="1"/>
              <c:showCatName val="0"/>
              <c:showSerName val="0"/>
              <c:showPercent val="0"/>
              <c:showBubbleSize val="0"/>
            </c:dLbl>
            <c:dLbl>
              <c:idx val="9"/>
              <c:tx>
                <c:rich>
                  <a:bodyPr/>
                  <a:lstStyle/>
                  <a:p>
                    <a:r>
                      <a:t>312.26</a:t>
                    </a:r>
                  </a:p>
                </c:rich>
              </c:tx>
              <c:dLblPos val="t"/>
              <c:showLegendKey val="0"/>
              <c:showVal val="1"/>
              <c:showCatName val="0"/>
              <c:showSerName val="0"/>
              <c:showPercent val="0"/>
              <c:showBubbleSize val="0"/>
            </c:dLbl>
            <c:dLbl>
              <c:idx val="10"/>
              <c:tx>
                <c:rich>
                  <a:bodyPr/>
                  <a:lstStyle/>
                  <a:p>
                    <a:r>
                      <a:t>258.77</a:t>
                    </a:r>
                  </a:p>
                </c:rich>
              </c:tx>
              <c:dLblPos val="t"/>
              <c:showLegendKey val="0"/>
              <c:showVal val="1"/>
              <c:showCatName val="0"/>
              <c:showSerName val="0"/>
              <c:showPercent val="0"/>
              <c:showBubbleSize val="0"/>
            </c:dLbl>
            <c:dLbl>
              <c:idx val="11"/>
              <c:tx>
                <c:rich>
                  <a:bodyPr/>
                  <a:lstStyle/>
                  <a:p>
                    <a:r>
                      <a:t>311.89</a:t>
                    </a:r>
                  </a:p>
                </c:rich>
              </c:tx>
              <c:dLblPos val="t"/>
              <c:showLegendKey val="0"/>
              <c:showVal val="1"/>
              <c:showCatName val="0"/>
              <c:showSerName val="0"/>
              <c:showPercent val="0"/>
              <c:showBubbleSize val="0"/>
            </c:dLbl>
            <c:dLbl>
              <c:idx val="12"/>
              <c:tx>
                <c:rich>
                  <a:bodyPr/>
                  <a:lstStyle/>
                  <a:p>
                    <a:r>
                      <a:t>188.44</a:t>
                    </a:r>
                  </a:p>
                </c:rich>
              </c:tx>
              <c:dLblPos val="t"/>
              <c:showLegendKey val="0"/>
              <c:showVal val="1"/>
              <c:showCatName val="0"/>
              <c:showSerName val="0"/>
              <c:showPercent val="0"/>
              <c:showBubbleSize val="0"/>
            </c:dLbl>
            <c:dLbl>
              <c:idx val="13"/>
              <c:tx>
                <c:rich>
                  <a:bodyPr/>
                  <a:lstStyle/>
                  <a:p>
                    <a:r>
                      <a:t>148.93</a:t>
                    </a:r>
                  </a:p>
                </c:rich>
              </c:tx>
              <c:dLblPos val="t"/>
              <c:showLegendKey val="0"/>
              <c:showVal val="1"/>
              <c:showCatName val="0"/>
              <c:showSerName val="0"/>
              <c:showPercent val="0"/>
              <c:showBubbleSize val="0"/>
            </c:dLbl>
            <c:dLbl>
              <c:idx val="14"/>
              <c:tx>
                <c:rich>
                  <a:bodyPr/>
                  <a:lstStyle/>
                  <a:p>
                    <a:r>
                      <a:t>283.8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Edgewell Banana Boat Aqua Protect Sunscreen Adults Cosmetics Crema 50+ 236Ml</c:v>
                </c:pt>
                <c:pt idx="6">
                  <c:v>Edgewell Banana Boat Dry Balance Sunscreen Adults Sport Spray Liquido 50 220Ml</c:v>
                </c:pt>
                <c:pt idx="7">
                  <c:v>Edgewell Hawaiian Tropic Island Sport Sunscreen Adults Sport Spray Liquido 50 220Ml</c:v>
                </c:pt>
                <c:pt idx="8">
                  <c:v>Edgewell Banana Boat Advanced Protection Sunscreen Adults Cosmetics Liquido 50+ 240Ml</c:v>
                </c:pt>
                <c:pt idx="9">
                  <c:v>Edgewell Banana Boat Aqua Protect Sunscreen Adults Cosmetics Spray Liquido 50+ 170Ml</c:v>
                </c:pt>
                <c:pt idx="10">
                  <c:v>Edgewell Banana Boat Banded Pack Banded Pack 2X Sunscreen Multi 50+ 236Ml</c:v>
                </c:pt>
                <c:pt idx="11">
                  <c:v>Edgewell Hawaiian Tropic Ozono Sunscreen Adults Cosmetics Spray Liquido 50+ 180Ml</c:v>
                </c:pt>
                <c:pt idx="12">
                  <c:v>Edgewell Hawaiian Tropic Sheer Touch Sunscreen Adults Cosmetics Crema 50 12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2.7</c:v>
                </c:pt>
                <c:pt idx="1">
                  <c:v>301.59</c:v>
                </c:pt>
                <c:pt idx="2">
                  <c:v>296.61</c:v>
                </c:pt>
                <c:pt idx="3">
                  <c:v>305.15</c:v>
                </c:pt>
                <c:pt idx="4">
                  <c:v>326.36</c:v>
                </c:pt>
                <c:pt idx="5">
                  <c:v>283.81</c:v>
                </c:pt>
                <c:pt idx="6">
                  <c:v>302.86</c:v>
                </c:pt>
                <c:pt idx="7">
                  <c:v>325.25</c:v>
                </c:pt>
                <c:pt idx="8">
                  <c:v>307.23</c:v>
                </c:pt>
                <c:pt idx="9">
                  <c:v>312.26</c:v>
                </c:pt>
                <c:pt idx="10">
                  <c:v>258.77</c:v>
                </c:pt>
                <c:pt idx="11">
                  <c:v>311.89</c:v>
                </c:pt>
                <c:pt idx="12">
                  <c:v>188.44</c:v>
                </c:pt>
                <c:pt idx="13">
                  <c:v>148.93</c:v>
                </c:pt>
                <c:pt idx="14">
                  <c:v>283.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6.61</a:t>
                    </a:r>
                  </a:p>
                </c:rich>
              </c:tx>
              <c:dLblPos val="t"/>
              <c:showLegendKey val="0"/>
              <c:showVal val="1"/>
              <c:showCatName val="0"/>
              <c:showSerName val="0"/>
              <c:showPercent val="0"/>
              <c:showBubbleSize val="0"/>
            </c:dLbl>
            <c:dLbl>
              <c:idx val="1"/>
              <c:tx>
                <c:rich>
                  <a:bodyPr/>
                  <a:lstStyle/>
                  <a:p>
                    <a:r>
                      <a:t>326.36</a:t>
                    </a:r>
                  </a:p>
                </c:rich>
              </c:tx>
              <c:dLblPos val="t"/>
              <c:showLegendKey val="0"/>
              <c:showVal val="1"/>
              <c:showCatName val="0"/>
              <c:showSerName val="0"/>
              <c:showPercent val="0"/>
              <c:showBubbleSize val="0"/>
            </c:dLbl>
            <c:dLbl>
              <c:idx val="2"/>
              <c:tx>
                <c:rich>
                  <a:bodyPr/>
                  <a:lstStyle/>
                  <a:p>
                    <a:r>
                      <a:t>283.81</a:t>
                    </a:r>
                  </a:p>
                </c:rich>
              </c:tx>
              <c:dLblPos val="t"/>
              <c:showLegendKey val="0"/>
              <c:showVal val="1"/>
              <c:showCatName val="0"/>
              <c:showSerName val="0"/>
              <c:showPercent val="0"/>
              <c:showBubbleSize val="0"/>
            </c:dLbl>
            <c:dLbl>
              <c:idx val="3"/>
              <c:tx>
                <c:rich>
                  <a:bodyPr/>
                  <a:lstStyle/>
                  <a:p>
                    <a:r>
                      <a:t>302.86</a:t>
                    </a:r>
                  </a:p>
                </c:rich>
              </c:tx>
              <c:dLblPos val="t"/>
              <c:showLegendKey val="0"/>
              <c:showVal val="1"/>
              <c:showCatName val="0"/>
              <c:showSerName val="0"/>
              <c:showPercent val="0"/>
              <c:showBubbleSize val="0"/>
            </c:dLbl>
            <c:dLbl>
              <c:idx val="4"/>
              <c:tx>
                <c:rich>
                  <a:bodyPr/>
                  <a:lstStyle/>
                  <a:p>
                    <a:r>
                      <a:t>307.23</a:t>
                    </a:r>
                  </a:p>
                </c:rich>
              </c:tx>
              <c:dLblPos val="t"/>
              <c:showLegendKey val="0"/>
              <c:showVal val="1"/>
              <c:showCatName val="0"/>
              <c:showSerName val="0"/>
              <c:showPercent val="0"/>
              <c:showBubbleSize val="0"/>
            </c:dLbl>
            <c:dLbl>
              <c:idx val="5"/>
              <c:tx>
                <c:rich>
                  <a:bodyPr/>
                  <a:lstStyle/>
                  <a:p>
                    <a:r>
                      <a:t>312.26</a:t>
                    </a:r>
                  </a:p>
                </c:rich>
              </c:tx>
              <c:dLblPos val="t"/>
              <c:showLegendKey val="0"/>
              <c:showVal val="1"/>
              <c:showCatName val="0"/>
              <c:showSerName val="0"/>
              <c:showPercent val="0"/>
              <c:showBubbleSize val="0"/>
            </c:dLbl>
            <c:dLbl>
              <c:idx val="6"/>
              <c:tx>
                <c:rich>
                  <a:bodyPr/>
                  <a:lstStyle/>
                  <a:p>
                    <a:r>
                      <a:t>258.77</a:t>
                    </a:r>
                  </a:p>
                </c:rich>
              </c:tx>
              <c:dLblPos val="t"/>
              <c:showLegendKey val="0"/>
              <c:showVal val="1"/>
              <c:showCatName val="0"/>
              <c:showSerName val="0"/>
              <c:showPercent val="0"/>
              <c:showBubbleSize val="0"/>
            </c:dLbl>
            <c:dLbl>
              <c:idx val="7"/>
              <c:tx>
                <c:rich>
                  <a:bodyPr/>
                  <a:lstStyle/>
                  <a:p>
                    <a:r>
                      <a:t>85.3</a:t>
                    </a:r>
                  </a:p>
                </c:rich>
              </c:tx>
              <c:dLblPos val="t"/>
              <c:showLegendKey val="0"/>
              <c:showVal val="1"/>
              <c:showCatName val="0"/>
              <c:showSerName val="0"/>
              <c:showPercent val="0"/>
              <c:showBubbleSize val="0"/>
            </c:dLbl>
            <c:dLbl>
              <c:idx val="8"/>
              <c:tx>
                <c:rich>
                  <a:bodyPr/>
                  <a:lstStyle/>
                  <a:p>
                    <a:r>
                      <a:t>331.57</a:t>
                    </a:r>
                  </a:p>
                </c:rich>
              </c:tx>
              <c:dLblPos val="t"/>
              <c:showLegendKey val="0"/>
              <c:showVal val="1"/>
              <c:showCatName val="0"/>
              <c:showSerName val="0"/>
              <c:showPercent val="0"/>
              <c:showBubbleSize val="0"/>
            </c:dLbl>
            <c:dLbl>
              <c:idx val="9"/>
              <c:tx>
                <c:rich>
                  <a:bodyPr/>
                  <a:lstStyle/>
                  <a:p>
                    <a:r>
                      <a:t>324.2</a:t>
                    </a:r>
                  </a:p>
                </c:rich>
              </c:tx>
              <c:dLblPos val="t"/>
              <c:showLegendKey val="0"/>
              <c:showVal val="1"/>
              <c:showCatName val="0"/>
              <c:showSerName val="0"/>
              <c:showPercent val="0"/>
              <c:showBubbleSize val="0"/>
            </c:dLbl>
            <c:dLbl>
              <c:idx val="10"/>
              <c:tx>
                <c:rich>
                  <a:bodyPr/>
                  <a:lstStyle/>
                  <a:p>
                    <a:r>
                      <a:t>334.39</a:t>
                    </a:r>
                  </a:p>
                </c:rich>
              </c:tx>
              <c:dLblPos val="t"/>
              <c:showLegendKey val="0"/>
              <c:showVal val="1"/>
              <c:showCatName val="0"/>
              <c:showSerName val="0"/>
              <c:showPercent val="0"/>
              <c:showBubbleSize val="0"/>
            </c:dLbl>
            <c:dLbl>
              <c:idx val="11"/>
              <c:tx>
                <c:rich>
                  <a:bodyPr/>
                  <a:lstStyle/>
                  <a:p>
                    <a:r>
                      <a:t>297.2</a:t>
                    </a:r>
                  </a:p>
                </c:rich>
              </c:tx>
              <c:dLblPos val="t"/>
              <c:showLegendKey val="0"/>
              <c:showVal val="1"/>
              <c:showCatName val="0"/>
              <c:showSerName val="0"/>
              <c:showPercent val="0"/>
              <c:showBubbleSize val="0"/>
            </c:dLbl>
            <c:dLbl>
              <c:idx val="12"/>
              <c:tx>
                <c:rich>
                  <a:bodyPr/>
                  <a:lstStyle/>
                  <a:p>
                    <a:r>
                      <a:t>246.19</a:t>
                    </a:r>
                  </a:p>
                </c:rich>
              </c:tx>
              <c:dLblPos val="t"/>
              <c:showLegendKey val="0"/>
              <c:showVal val="1"/>
              <c:showCatName val="0"/>
              <c:showSerName val="0"/>
              <c:showPercent val="0"/>
              <c:showBubbleSize val="0"/>
            </c:dLbl>
            <c:dLbl>
              <c:idx val="13"/>
              <c:tx>
                <c:rich>
                  <a:bodyPr/>
                  <a:lstStyle/>
                  <a:p>
                    <a:r>
                      <a:t>254.41</a:t>
                    </a:r>
                  </a:p>
                </c:rich>
              </c:tx>
              <c:dLblPos val="t"/>
              <c:showLegendKey val="0"/>
              <c:showVal val="1"/>
              <c:showCatName val="0"/>
              <c:showSerName val="0"/>
              <c:showPercent val="0"/>
              <c:showBubbleSize val="0"/>
            </c:dLbl>
            <c:dLbl>
              <c:idx val="14"/>
              <c:tx>
                <c:rich>
                  <a:bodyPr/>
                  <a:lstStyle/>
                  <a:p>
                    <a:r>
                      <a:t>148.9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Edgewell Banana Boat Aqua Protect Sunscreen Adults Cosmetics Spray Liquido 50+ 170Ml</c:v>
                </c:pt>
                <c:pt idx="6">
                  <c:v>Edgewell Banana Boat Banded Pack Banded Pack 2X Sunscreen Multi 50+ 236Ml</c:v>
                </c:pt>
                <c:pt idx="7">
                  <c:v>Edgewell Banana Boat Advanced Protection Sunscreen Adults Cosmetics Liquido 50+ 60Ml</c:v>
                </c:pt>
                <c:pt idx="8">
                  <c:v>Edgewell Banana Boat Mineral Sunscreen Kids Cosmetics Locion 50 180Ml</c:v>
                </c:pt>
                <c:pt idx="9">
                  <c:v>Edgewell Banana Boat Mineral Sunscreen Adults Cosmetics Locion 50 180Ml</c:v>
                </c:pt>
                <c:pt idx="10">
                  <c:v>Edgewell Banana Boat Mineral Sunscreen Adults Sport Locion 50 180Ml</c:v>
                </c:pt>
                <c:pt idx="11">
                  <c:v>Edgewell Banana Boat Dry Balance Sunscreen Adults Sport Crema 50+ 180Ml</c:v>
                </c:pt>
                <c:pt idx="12">
                  <c:v>Edgewell Banana Boat Advanced Protection Sunscreen Adults Cosmetics Liquido 50 180Ml</c:v>
                </c:pt>
                <c:pt idx="13">
                  <c:v>Edgewell Banana Boat Kids Sport Sunscreen Kids Cosmetics Crema 50 180Ml</c:v>
                </c:pt>
                <c:pt idx="14">
                  <c:v>Edgewell Banana Boat After Sun After Sun Adults Cosmetics Gel 0 - 5 230Ml</c:v>
                </c:pt>
              </c:strCache>
            </c:strRef>
          </c:cat>
          <c:val>
            <c:numRef>
              <c:f>Sheet1!$B$2:$B$16</c:f>
              <c:numCache>
                <c:formatCode>General</c:formatCode>
                <c:ptCount val="15"/>
                <c:pt idx="0">
                  <c:v>296.61</c:v>
                </c:pt>
                <c:pt idx="1">
                  <c:v>326.36</c:v>
                </c:pt>
                <c:pt idx="2">
                  <c:v>283.81</c:v>
                </c:pt>
                <c:pt idx="3">
                  <c:v>302.86</c:v>
                </c:pt>
                <c:pt idx="4">
                  <c:v>307.23</c:v>
                </c:pt>
                <c:pt idx="5">
                  <c:v>312.26</c:v>
                </c:pt>
                <c:pt idx="6">
                  <c:v>258.77</c:v>
                </c:pt>
                <c:pt idx="7">
                  <c:v>85.3</c:v>
                </c:pt>
                <c:pt idx="8">
                  <c:v>331.57</c:v>
                </c:pt>
                <c:pt idx="9">
                  <c:v>324.2</c:v>
                </c:pt>
                <c:pt idx="10">
                  <c:v>334.39</c:v>
                </c:pt>
                <c:pt idx="11">
                  <c:v>297.2</c:v>
                </c:pt>
                <c:pt idx="12">
                  <c:v>246.19</c:v>
                </c:pt>
                <c:pt idx="13">
                  <c:v>254.41</c:v>
                </c:pt>
                <c:pt idx="14">
                  <c:v>148.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dLblPos val="t"/>
              <c:showLegendKey val="0"/>
              <c:showVal val="1"/>
              <c:showCatName val="0"/>
              <c:showSerName val="0"/>
              <c:showPercent val="0"/>
              <c:showBubbleSize val="0"/>
            </c:dLbl>
            <c:dLbl>
              <c:idx val="1"/>
              <c:tx>
                <c:rich>
                  <a:bodyPr/>
                  <a:lstStyle/>
                  <a:p>
                    <a:r>
                      <a:t>306.84</a:t>
                    </a:r>
                  </a:p>
                </c:rich>
              </c:tx>
              <c:dLblPos val="t"/>
              <c:showLegendKey val="0"/>
              <c:showVal val="1"/>
              <c:showCatName val="0"/>
              <c:showSerName val="0"/>
              <c:showPercent val="0"/>
              <c:showBubbleSize val="0"/>
            </c:dLbl>
            <c:dLbl>
              <c:idx val="2"/>
              <c:tx>
                <c:rich>
                  <a:bodyPr/>
                  <a:lstStyle/>
                  <a:p>
                    <a:r>
                      <a:t>303.99</a:t>
                    </a:r>
                  </a:p>
                </c:rich>
              </c:tx>
              <c:dLblPos val="t"/>
              <c:showLegendKey val="0"/>
              <c:showVal val="1"/>
              <c:showCatName val="0"/>
              <c:showSerName val="0"/>
              <c:showPercent val="0"/>
              <c:showBubbleSize val="0"/>
            </c:dLbl>
            <c:dLbl>
              <c:idx val="3"/>
              <c:tx>
                <c:rich>
                  <a:bodyPr/>
                  <a:lstStyle/>
                  <a:p>
                    <a:r>
                      <a:t>308.69</a:t>
                    </a:r>
                  </a:p>
                </c:rich>
              </c:tx>
              <c:dLblPos val="t"/>
              <c:showLegendKey val="0"/>
              <c:showVal val="1"/>
              <c:showCatName val="0"/>
              <c:showSerName val="0"/>
              <c:showPercent val="0"/>
              <c:showBubbleSize val="0"/>
            </c:dLbl>
            <c:dLbl>
              <c:idx val="4"/>
              <c:tx>
                <c:rich>
                  <a:bodyPr/>
                  <a:lstStyle/>
                  <a:p>
                    <a:r>
                      <a:t>338.04</a:t>
                    </a:r>
                  </a:p>
                </c:rich>
              </c:tx>
              <c:dLblPos val="t"/>
              <c:showLegendKey val="0"/>
              <c:showVal val="1"/>
              <c:showCatName val="0"/>
              <c:showSerName val="0"/>
              <c:showPercent val="0"/>
              <c:showBubbleSize val="0"/>
            </c:dLbl>
            <c:dLbl>
              <c:idx val="5"/>
              <c:tx>
                <c:rich>
                  <a:bodyPr/>
                  <a:lstStyle/>
                  <a:p>
                    <a:r>
                      <a:t>290.72</a:t>
                    </a:r>
                  </a:p>
                </c:rich>
              </c:tx>
              <c:dLblPos val="t"/>
              <c:showLegendKey val="0"/>
              <c:showVal val="1"/>
              <c:showCatName val="0"/>
              <c:showSerName val="0"/>
              <c:showPercent val="0"/>
              <c:showBubbleSize val="0"/>
            </c:dLbl>
            <c:dLbl>
              <c:idx val="6"/>
              <c:tx>
                <c:rich>
                  <a:bodyPr/>
                  <a:lstStyle/>
                  <a:p>
                    <a:r>
                      <a:t>316.05</a:t>
                    </a:r>
                  </a:p>
                </c:rich>
              </c:tx>
              <c:dLblPos val="t"/>
              <c:showLegendKey val="0"/>
              <c:showVal val="1"/>
              <c:showCatName val="0"/>
              <c:showSerName val="0"/>
              <c:showPercent val="0"/>
              <c:showBubbleSize val="0"/>
            </c:dLbl>
            <c:dLbl>
              <c:idx val="7"/>
              <c:tx>
                <c:rich>
                  <a:bodyPr/>
                  <a:lstStyle/>
                  <a:p>
                    <a:r>
                      <a:t>334.03</a:t>
                    </a:r>
                  </a:p>
                </c:rich>
              </c:tx>
              <c:dLblPos val="t"/>
              <c:showLegendKey val="0"/>
              <c:showVal val="1"/>
              <c:showCatName val="0"/>
              <c:showSerName val="0"/>
              <c:showPercent val="0"/>
              <c:showBubbleSize val="0"/>
            </c:dLbl>
            <c:dLbl>
              <c:idx val="8"/>
              <c:tx>
                <c:rich>
                  <a:bodyPr/>
                  <a:lstStyle/>
                  <a:p>
                    <a:r>
                      <a:t>310.2</a:t>
                    </a:r>
                  </a:p>
                </c:rich>
              </c:tx>
              <c:dLblPos val="t"/>
              <c:showLegendKey val="0"/>
              <c:showVal val="1"/>
              <c:showCatName val="0"/>
              <c:showSerName val="0"/>
              <c:showPercent val="0"/>
              <c:showBubbleSize val="0"/>
            </c:dLbl>
            <c:dLbl>
              <c:idx val="9"/>
              <c:tx>
                <c:rich>
                  <a:bodyPr/>
                  <a:lstStyle/>
                  <a:p>
                    <a:r>
                      <a:t>317.39</a:t>
                    </a:r>
                  </a:p>
                </c:rich>
              </c:tx>
              <c:dLblPos val="t"/>
              <c:showLegendKey val="0"/>
              <c:showVal val="1"/>
              <c:showCatName val="0"/>
              <c:showSerName val="0"/>
              <c:showPercent val="0"/>
              <c:showBubbleSize val="0"/>
            </c:dLbl>
            <c:dLbl>
              <c:idx val="10"/>
              <c:tx>
                <c:rich>
                  <a:bodyPr/>
                  <a:lstStyle/>
                  <a:p>
                    <a:r>
                      <a:t>269.13</a:t>
                    </a:r>
                  </a:p>
                </c:rich>
              </c:tx>
              <c:dLblPos val="t"/>
              <c:showLegendKey val="0"/>
              <c:showVal val="1"/>
              <c:showCatName val="0"/>
              <c:showSerName val="0"/>
              <c:showPercent val="0"/>
              <c:showBubbleSize val="0"/>
            </c:dLbl>
            <c:dLbl>
              <c:idx val="11"/>
              <c:tx>
                <c:rich>
                  <a:bodyPr/>
                  <a:lstStyle/>
                  <a:p>
                    <a:r>
                      <a:t>189.32</a:t>
                    </a:r>
                  </a:p>
                </c:rich>
              </c:tx>
              <c:dLblPos val="t"/>
              <c:showLegendKey val="0"/>
              <c:showVal val="1"/>
              <c:showCatName val="0"/>
              <c:showSerName val="0"/>
              <c:showPercent val="0"/>
              <c:showBubbleSize val="0"/>
            </c:dLbl>
            <c:dLbl>
              <c:idx val="12"/>
              <c:tx>
                <c:rich>
                  <a:bodyPr/>
                  <a:lstStyle/>
                  <a:p>
                    <a:r>
                      <a:t>327.07</a:t>
                    </a:r>
                  </a:p>
                </c:rich>
              </c:tx>
              <c:dLblPos val="t"/>
              <c:showLegendKey val="0"/>
              <c:showVal val="1"/>
              <c:showCatName val="0"/>
              <c:showSerName val="0"/>
              <c:showPercent val="0"/>
              <c:showBubbleSize val="0"/>
            </c:dLbl>
            <c:dLbl>
              <c:idx val="13"/>
              <c:tx>
                <c:rich>
                  <a:bodyPr/>
                  <a:lstStyle/>
                  <a:p>
                    <a:r>
                      <a:t>149.69</a:t>
                    </a:r>
                  </a:p>
                </c:rich>
              </c:tx>
              <c:dLblPos val="t"/>
              <c:showLegendKey val="0"/>
              <c:showVal val="1"/>
              <c:showCatName val="0"/>
              <c:showSerName val="0"/>
              <c:showPercent val="0"/>
              <c:showBubbleSize val="0"/>
            </c:dLbl>
            <c:dLbl>
              <c:idx val="14"/>
              <c:tx>
                <c:rich>
                  <a:bodyPr/>
                  <a:lstStyle/>
                  <a:p>
                    <a:r>
                      <a:t>287.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Edgewell Banana Boat Aqua Protect Sunscreen Adults Cosmetics Crema 50+ 236Ml</c:v>
                </c:pt>
                <c:pt idx="6">
                  <c:v>Edgewell Banana Boat Dry Balance Sunscreen Adults Sport Spray Liquido 50 220Ml</c:v>
                </c:pt>
                <c:pt idx="7">
                  <c:v>Edgewell Hawaiian Tropic Island Sport Sunscreen Adults Sport Spray Liquido 50 220Ml</c:v>
                </c:pt>
                <c:pt idx="8">
                  <c:v>Edgewell Banana Boat Advanced Protection Sunscreen Adults Cosmetics Liquido 50+ 240Ml</c:v>
                </c:pt>
                <c:pt idx="9">
                  <c:v>Edgewell Banana Boat Aqua Protect Sunscreen Adults Cosmetics Spray Liquido 50+ 170Ml</c:v>
                </c:pt>
                <c:pt idx="10">
                  <c:v>Edgewell Banana Boat Banded Pack Banded Pack 2X Sunscreen Multi 50+ 236Ml</c:v>
                </c:pt>
                <c:pt idx="11">
                  <c:v>Edgewell Hawaiian Tropic Sheer Touch Sunscreen Adults Cosmetics Crema 50 120Ml</c:v>
                </c:pt>
                <c:pt idx="12">
                  <c:v>Edgewell Hawaiian Tropic Ozono Sunscreen Adults Cosmetics Spray Liquido 50+ 18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5.74</c:v>
                </c:pt>
                <c:pt idx="1">
                  <c:v>306.84</c:v>
                </c:pt>
                <c:pt idx="2">
                  <c:v>303.99</c:v>
                </c:pt>
                <c:pt idx="3">
                  <c:v>308.69</c:v>
                </c:pt>
                <c:pt idx="4">
                  <c:v>338.04</c:v>
                </c:pt>
                <c:pt idx="5">
                  <c:v>290.72</c:v>
                </c:pt>
                <c:pt idx="6">
                  <c:v>316.05</c:v>
                </c:pt>
                <c:pt idx="7">
                  <c:v>334.03</c:v>
                </c:pt>
                <c:pt idx="8">
                  <c:v>310.2</c:v>
                </c:pt>
                <c:pt idx="9">
                  <c:v>317.39</c:v>
                </c:pt>
                <c:pt idx="10">
                  <c:v>269.13</c:v>
                </c:pt>
                <c:pt idx="11">
                  <c:v>189.32</c:v>
                </c:pt>
                <c:pt idx="12">
                  <c:v>327.07</c:v>
                </c:pt>
                <c:pt idx="13">
                  <c:v>149.69</c:v>
                </c:pt>
                <c:pt idx="14">
                  <c:v>287.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2</a:t>
                    </a:r>
                  </a:p>
                </c:rich>
              </c:tx>
              <c:dLblPos val="t"/>
              <c:showLegendKey val="0"/>
              <c:showVal val="1"/>
              <c:showCatName val="0"/>
              <c:showSerName val="0"/>
              <c:showPercent val="0"/>
              <c:showBubbleSize val="0"/>
            </c:dLbl>
            <c:dLbl>
              <c:idx val="1"/>
              <c:tx>
                <c:rich>
                  <a:bodyPr/>
                  <a:lstStyle/>
                  <a:p>
                    <a:r>
                      <a:t>318.53</a:t>
                    </a:r>
                  </a:p>
                </c:rich>
              </c:tx>
              <c:dLblPos val="t"/>
              <c:showLegendKey val="0"/>
              <c:showVal val="1"/>
              <c:showCatName val="0"/>
              <c:showSerName val="0"/>
              <c:showPercent val="0"/>
              <c:showBubbleSize val="0"/>
            </c:dLbl>
            <c:dLbl>
              <c:idx val="2"/>
              <c:tx>
                <c:rich>
                  <a:bodyPr/>
                  <a:lstStyle/>
                  <a:p>
                    <a:r>
                      <a:t>348.86</a:t>
                    </a:r>
                  </a:p>
                </c:rich>
              </c:tx>
              <c:dLblPos val="t"/>
              <c:showLegendKey val="0"/>
              <c:showVal val="1"/>
              <c:showCatName val="0"/>
              <c:showSerName val="0"/>
              <c:showPercent val="0"/>
              <c:showBubbleSize val="0"/>
            </c:dLbl>
            <c:dLbl>
              <c:idx val="3"/>
              <c:tx>
                <c:rich>
                  <a:bodyPr/>
                  <a:lstStyle/>
                  <a:p>
                    <a:r>
                      <a:t>347.12</a:t>
                    </a:r>
                  </a:p>
                </c:rich>
              </c:tx>
              <c:dLblPos val="t"/>
              <c:showLegendKey val="0"/>
              <c:showVal val="1"/>
              <c:showCatName val="0"/>
              <c:showSerName val="0"/>
              <c:showPercent val="0"/>
              <c:showBubbleSize val="0"/>
            </c:dLbl>
            <c:dLbl>
              <c:idx val="4"/>
              <c:tx>
                <c:rich>
                  <a:bodyPr/>
                  <a:lstStyle/>
                  <a:p>
                    <a:r>
                      <a:t>330.0</a:t>
                    </a:r>
                  </a:p>
                </c:rich>
              </c:tx>
              <c:dLblPos val="t"/>
              <c:showLegendKey val="0"/>
              <c:showVal val="1"/>
              <c:showCatName val="0"/>
              <c:showSerName val="0"/>
              <c:showPercent val="0"/>
              <c:showBubbleSize val="0"/>
            </c:dLbl>
            <c:dLbl>
              <c:idx val="5"/>
              <c:tx>
                <c:rich>
                  <a:bodyPr/>
                  <a:lstStyle/>
                  <a:p>
                    <a:r>
                      <a:t>339.09</a:t>
                    </a:r>
                  </a:p>
                </c:rich>
              </c:tx>
              <c:dLblPos val="t"/>
              <c:showLegendKey val="0"/>
              <c:showVal val="1"/>
              <c:showCatName val="0"/>
              <c:showSerName val="0"/>
              <c:showPercent val="0"/>
              <c:showBubbleSize val="0"/>
            </c:dLbl>
            <c:dLbl>
              <c:idx val="6"/>
              <c:tx>
                <c:rich>
                  <a:bodyPr/>
                  <a:lstStyle/>
                  <a:p>
                    <a:r>
                      <a:t>330.54</a:t>
                    </a:r>
                  </a:p>
                </c:rich>
              </c:tx>
              <c:dLblPos val="t"/>
              <c:showLegendKey val="0"/>
              <c:showVal val="1"/>
              <c:showCatName val="0"/>
              <c:showSerName val="0"/>
              <c:showPercent val="0"/>
              <c:showBubbleSize val="0"/>
            </c:dLbl>
            <c:dLbl>
              <c:idx val="7"/>
              <c:tx>
                <c:rich>
                  <a:bodyPr/>
                  <a:lstStyle/>
                  <a:p>
                    <a:r>
                      <a:t>329.19</a:t>
                    </a:r>
                  </a:p>
                </c:rich>
              </c:tx>
              <c:dLblPos val="t"/>
              <c:showLegendKey val="0"/>
              <c:showVal val="1"/>
              <c:showCatName val="0"/>
              <c:showSerName val="0"/>
              <c:showPercent val="0"/>
              <c:showBubbleSize val="0"/>
            </c:dLbl>
            <c:dLbl>
              <c:idx val="8"/>
              <c:tx>
                <c:rich>
                  <a:bodyPr/>
                  <a:lstStyle/>
                  <a:p>
                    <a:r>
                      <a:t>91.75</a:t>
                    </a:r>
                  </a:p>
                </c:rich>
              </c:tx>
              <c:dLblPos val="t"/>
              <c:showLegendKey val="0"/>
              <c:showVal val="1"/>
              <c:showCatName val="0"/>
              <c:showSerName val="0"/>
              <c:showPercent val="0"/>
              <c:showBubbleSize val="0"/>
            </c:dLbl>
            <c:dLbl>
              <c:idx val="9"/>
              <c:tx>
                <c:rich>
                  <a:bodyPr/>
                  <a:lstStyle/>
                  <a:p>
                    <a:r>
                      <a:t>359.99</a:t>
                    </a:r>
                  </a:p>
                </c:rich>
              </c:tx>
              <c:dLblPos val="t"/>
              <c:showLegendKey val="0"/>
              <c:showVal val="1"/>
              <c:showCatName val="0"/>
              <c:showSerName val="0"/>
              <c:showPercent val="0"/>
              <c:showBubbleSize val="0"/>
            </c:dLbl>
            <c:dLbl>
              <c:idx val="10"/>
              <c:tx>
                <c:rich>
                  <a:bodyPr/>
                  <a:lstStyle/>
                  <a:p>
                    <a:r>
                      <a:t>417.8</a:t>
                    </a:r>
                  </a:p>
                </c:rich>
              </c:tx>
              <c:dLblPos val="t"/>
              <c:showLegendKey val="0"/>
              <c:showVal val="1"/>
              <c:showCatName val="0"/>
              <c:showSerName val="0"/>
              <c:showPercent val="0"/>
              <c:showBubbleSize val="0"/>
            </c:dLbl>
            <c:dLbl>
              <c:idx val="11"/>
              <c:tx>
                <c:rich>
                  <a:bodyPr/>
                  <a:lstStyle/>
                  <a:p>
                    <a:r>
                      <a:t>358.05</a:t>
                    </a:r>
                  </a:p>
                </c:rich>
              </c:tx>
              <c:dLblPos val="t"/>
              <c:showLegendKey val="0"/>
              <c:showVal val="1"/>
              <c:showCatName val="0"/>
              <c:showSerName val="0"/>
              <c:showPercent val="0"/>
              <c:showBubbleSize val="0"/>
            </c:dLbl>
            <c:dLbl>
              <c:idx val="12"/>
              <c:tx>
                <c:rich>
                  <a:bodyPr/>
                  <a:lstStyle/>
                  <a:p>
                    <a:r>
                      <a:t>325.31</a:t>
                    </a:r>
                  </a:p>
                </c:rich>
              </c:tx>
              <c:dLblPos val="t"/>
              <c:showLegendKey val="0"/>
              <c:showVal val="1"/>
              <c:showCatName val="0"/>
              <c:showSerName val="0"/>
              <c:showPercent val="0"/>
              <c:showBubbleSize val="0"/>
            </c:dLbl>
            <c:dLbl>
              <c:idx val="13"/>
              <c:tx>
                <c:rich>
                  <a:bodyPr/>
                  <a:lstStyle/>
                  <a:p>
                    <a:r>
                      <a:t>159.67</a:t>
                    </a:r>
                  </a:p>
                </c:rich>
              </c:tx>
              <c:dLblPos val="t"/>
              <c:showLegendKey val="0"/>
              <c:showVal val="1"/>
              <c:showCatName val="0"/>
              <c:showSerName val="0"/>
              <c:showPercent val="0"/>
              <c:showBubbleSize val="0"/>
            </c:dLbl>
            <c:dLbl>
              <c:idx val="14"/>
              <c:tx>
                <c:rich>
                  <a:bodyPr/>
                  <a:lstStyle/>
                  <a:p>
                    <a:r>
                      <a:t>277.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Spray Liquido 50 220Ml</c:v>
                </c:pt>
                <c:pt idx="4">
                  <c:v>Edgewell Hawaiian Tropic Island Sport Sunscreen Adults Sport Liquido 50 240Ml</c:v>
                </c:pt>
                <c:pt idx="5">
                  <c:v>Edgewell Banana Boat Aqua Protect Sunscreen Adults Cosmetics Spray Liquido 50+ 170Ml</c:v>
                </c:pt>
                <c:pt idx="6">
                  <c:v>Edgewell Banana Boat Advanced Protection Sunscreen Adults Cosmetics Liquido 50+ 240Ml</c:v>
                </c:pt>
                <c:pt idx="7">
                  <c:v>Edgewell Banana Boat Dry Balance Sunscreen Adults Sport Spray Liquido 50 220Ml</c:v>
                </c:pt>
                <c:pt idx="8">
                  <c:v>Edgewell Banana Boat Advanced Protection Sunscreen Adults Cosmetics Liquido 50+ 60Ml</c:v>
                </c:pt>
                <c:pt idx="9">
                  <c:v>Edgewell Banana Boat Mineral Sunscreen Kids Cosmetics Locion 50 180Ml</c:v>
                </c:pt>
                <c:pt idx="10">
                  <c:v>Edgewell Banana Boat Banded Pack Banded Pack 2X Sunscreen Multi 50+ 170Ml</c:v>
                </c:pt>
                <c:pt idx="11">
                  <c:v>Edgewell Banana Boat Mineral Sunscreen Adults Sport Locion 50 180Ml</c:v>
                </c:pt>
                <c:pt idx="12">
                  <c:v>Edgewell Hawaiian Tropic Ozono Sunscreen Adults Cosmetics Spray Liquido 50+ 18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5.32</c:v>
                </c:pt>
                <c:pt idx="1">
                  <c:v>318.53</c:v>
                </c:pt>
                <c:pt idx="2">
                  <c:v>348.86</c:v>
                </c:pt>
                <c:pt idx="3">
                  <c:v>347.12</c:v>
                </c:pt>
                <c:pt idx="4">
                  <c:v>330.0</c:v>
                </c:pt>
                <c:pt idx="5">
                  <c:v>339.09</c:v>
                </c:pt>
                <c:pt idx="6">
                  <c:v>330.54</c:v>
                </c:pt>
                <c:pt idx="7">
                  <c:v>329.19</c:v>
                </c:pt>
                <c:pt idx="8">
                  <c:v>91.75</c:v>
                </c:pt>
                <c:pt idx="9">
                  <c:v>359.99</c:v>
                </c:pt>
                <c:pt idx="10">
                  <c:v>417.8</c:v>
                </c:pt>
                <c:pt idx="11">
                  <c:v>358.05</c:v>
                </c:pt>
                <c:pt idx="12">
                  <c:v>325.31</c:v>
                </c:pt>
                <c:pt idx="13">
                  <c:v>159.67</c:v>
                </c:pt>
                <c:pt idx="14">
                  <c:v>277.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70.09</a:t>
                    </a:r>
                  </a:p>
                </c:rich>
              </c:tx>
              <c:dLblPos val="t"/>
              <c:showLegendKey val="0"/>
              <c:showVal val="1"/>
              <c:showCatName val="0"/>
              <c:showSerName val="0"/>
              <c:showPercent val="0"/>
              <c:showBubbleSize val="0"/>
            </c:dLbl>
            <c:dLbl>
              <c:idx val="2"/>
              <c:tx>
                <c:rich>
                  <a:bodyPr/>
                  <a:lstStyle/>
                  <a:p>
                    <a:r>
                      <a:t>96.8</a:t>
                    </a:r>
                  </a:p>
                </c:rich>
              </c:tx>
              <c:dLblPos val="t"/>
              <c:showLegendKey val="0"/>
              <c:showVal val="1"/>
              <c:showCatName val="0"/>
              <c:showSerName val="0"/>
              <c:showPercent val="0"/>
              <c:showBubbleSize val="0"/>
            </c:dLbl>
            <c:dLbl>
              <c:idx val="3"/>
              <c:tx>
                <c:rich>
                  <a:bodyPr/>
                  <a:lstStyle/>
                  <a:p>
                    <a:r>
                      <a:t>234.59</a:t>
                    </a:r>
                  </a:p>
                </c:rich>
              </c:tx>
              <c:dLblPos val="t"/>
              <c:showLegendKey val="0"/>
              <c:showVal val="1"/>
              <c:showCatName val="0"/>
              <c:showSerName val="0"/>
              <c:showPercent val="0"/>
              <c:showBubbleSize val="0"/>
            </c:dLbl>
            <c:dLbl>
              <c:idx val="4"/>
              <c:tx>
                <c:rich>
                  <a:bodyPr/>
                  <a:lstStyle/>
                  <a:p>
                    <a:r>
                      <a:t>220.0</a:t>
                    </a:r>
                  </a:p>
                </c:rich>
              </c:tx>
              <c:dLblPos val="t"/>
              <c:showLegendKey val="0"/>
              <c:showVal val="1"/>
              <c:showCatName val="0"/>
              <c:showSerName val="0"/>
              <c:showPercent val="0"/>
              <c:showBubbleSize val="0"/>
            </c:dLbl>
            <c:dLbl>
              <c:idx val="5"/>
              <c:tx>
                <c:rich>
                  <a:bodyPr/>
                  <a:lstStyle/>
                  <a:p>
                    <a:r>
                      <a:t>205.93</a:t>
                    </a:r>
                  </a:p>
                </c:rich>
              </c:tx>
              <c:dLblPos val="t"/>
              <c:showLegendKey val="0"/>
              <c:showVal val="1"/>
              <c:showCatName val="0"/>
              <c:showSerName val="0"/>
              <c:showPercent val="0"/>
              <c:showBubbleSize val="0"/>
            </c:dLbl>
            <c:dLbl>
              <c:idx val="6"/>
              <c:tx>
                <c:rich>
                  <a:bodyPr/>
                  <a:lstStyle/>
                  <a:p>
                    <a:r>
                      <a:t>258.0</a:t>
                    </a:r>
                  </a:p>
                </c:rich>
              </c:tx>
              <c:dLblPos val="t"/>
              <c:showLegendKey val="0"/>
              <c:showVal val="1"/>
              <c:showCatName val="0"/>
              <c:showSerName val="0"/>
              <c:showPercent val="0"/>
              <c:showBubbleSize val="0"/>
            </c:dLbl>
            <c:dLbl>
              <c:idx val="7"/>
              <c:tx>
                <c:rich>
                  <a:bodyPr/>
                  <a:lstStyle/>
                  <a:p>
                    <a:r>
                      <a:t>133.0</a:t>
                    </a:r>
                  </a:p>
                </c:rich>
              </c:tx>
              <c:dLblPos val="t"/>
              <c:showLegendKey val="0"/>
              <c:showVal val="1"/>
              <c:showCatName val="0"/>
              <c:showSerName val="0"/>
              <c:showPercent val="0"/>
              <c:showBubbleSize val="0"/>
            </c:dLbl>
            <c:dLbl>
              <c:idx val="8"/>
              <c:tx>
                <c:rich>
                  <a:bodyPr/>
                  <a:lstStyle/>
                  <a:p>
                    <a:r>
                      <a:t>12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Other Sunscreen Adults Cosmetics Crema 50+ 240Ml</c:v>
                </c:pt>
                <c:pt idx="1">
                  <c:v>Edgewell Hawaiian Tropic Island Sport Sunscreen Adults Sport Liquido 50 60Ml</c:v>
                </c:pt>
                <c:pt idx="2">
                  <c:v>Edgewell Banana Boat Advanced Protection Sunscreen Adults Cosmetics Liquido 50+ 60Ml</c:v>
                </c:pt>
                <c:pt idx="3">
                  <c:v>Edgewell Banana Boat Mineral Sunscreen Adults Cosmetics Locion 50 60Ml</c:v>
                </c:pt>
                <c:pt idx="4">
                  <c:v>Edgewell Hawaiian Tropic Island Sport Sunscreen Adults Sport Spray Liquido 50 220Ml</c:v>
                </c:pt>
                <c:pt idx="5">
                  <c:v>Edgewell Banana Boat Banded Pack Banded Pack 2X Sunscreen Multi 50+ 170Ml</c:v>
                </c:pt>
                <c:pt idx="6">
                  <c:v>Edgewell Hawaiian Tropic Baby Sunscreen Baby Cosmetics Crema 50+ 240Ml</c:v>
                </c:pt>
                <c:pt idx="7">
                  <c:v>Edgewell Hawaiian Tropic Sheer Touch Sunscreen Adults Cosmetics Liquido 30 - 49 60Ml</c:v>
                </c:pt>
                <c:pt idx="8">
                  <c:v>Edgewell Banana Boat Gentle Protect Sunscreen Adults Cosmetics Locion 50 180Ml</c:v>
                </c:pt>
              </c:strCache>
            </c:strRef>
          </c:cat>
          <c:val>
            <c:numRef>
              <c:f>Sheet1!$B$2:$B$10</c:f>
              <c:numCache>
                <c:formatCode>General</c:formatCode>
                <c:ptCount val="9"/>
                <c:pt idx="0">
                  <c:v>240.0</c:v>
                </c:pt>
                <c:pt idx="1">
                  <c:v>70.09</c:v>
                </c:pt>
                <c:pt idx="2">
                  <c:v>96.8</c:v>
                </c:pt>
                <c:pt idx="3">
                  <c:v>234.59</c:v>
                </c:pt>
                <c:pt idx="4">
                  <c:v>220.0</c:v>
                </c:pt>
                <c:pt idx="5">
                  <c:v>205.93</c:v>
                </c:pt>
                <c:pt idx="6">
                  <c:v>258.0</c:v>
                </c:pt>
                <c:pt idx="7">
                  <c:v>133.0</c:v>
                </c:pt>
                <c:pt idx="8">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12.14</a:t>
                    </a:r>
                  </a:p>
                </c:rich>
              </c:tx>
              <c:dLblPos val="t"/>
              <c:showLegendKey val="0"/>
              <c:showVal val="1"/>
              <c:showCatName val="0"/>
              <c:showSerName val="0"/>
              <c:showPercent val="0"/>
              <c:showBubbleSize val="0"/>
            </c:dLbl>
            <c:dLbl>
              <c:idx val="2"/>
              <c:tx>
                <c:rich>
                  <a:bodyPr/>
                  <a:lstStyle/>
                  <a:p>
                    <a:r>
                      <a:t>305.29</a:t>
                    </a:r>
                  </a:p>
                </c:rich>
              </c:tx>
              <c:dLblPos val="t"/>
              <c:showLegendKey val="0"/>
              <c:showVal val="1"/>
              <c:showCatName val="0"/>
              <c:showSerName val="0"/>
              <c:showPercent val="0"/>
              <c:showBubbleSize val="0"/>
            </c:dLbl>
            <c:dLbl>
              <c:idx val="3"/>
              <c:tx>
                <c:rich>
                  <a:bodyPr/>
                  <a:lstStyle/>
                  <a:p>
                    <a:r>
                      <a:t>281.61</a:t>
                    </a:r>
                  </a:p>
                </c:rich>
              </c:tx>
              <c:dLblPos val="t"/>
              <c:showLegendKey val="0"/>
              <c:showVal val="1"/>
              <c:showCatName val="0"/>
              <c:showSerName val="0"/>
              <c:showPercent val="0"/>
              <c:showBubbleSize val="0"/>
            </c:dLbl>
            <c:dLbl>
              <c:idx val="4"/>
              <c:tx>
                <c:rich>
                  <a:bodyPr/>
                  <a:lstStyle/>
                  <a:p>
                    <a:r>
                      <a:t>326.59</a:t>
                    </a:r>
                  </a:p>
                </c:rich>
              </c:tx>
              <c:dLblPos val="t"/>
              <c:showLegendKey val="0"/>
              <c:showVal val="1"/>
              <c:showCatName val="0"/>
              <c:showSerName val="0"/>
              <c:showPercent val="0"/>
              <c:showBubbleSize val="0"/>
            </c:dLbl>
            <c:dLbl>
              <c:idx val="5"/>
              <c:tx>
                <c:rich>
                  <a:bodyPr/>
                  <a:lstStyle/>
                  <a:p>
                    <a:r>
                      <a:t>290.34</a:t>
                    </a:r>
                  </a:p>
                </c:rich>
              </c:tx>
              <c:dLblPos val="t"/>
              <c:showLegendKey val="0"/>
              <c:showVal val="1"/>
              <c:showCatName val="0"/>
              <c:showSerName val="0"/>
              <c:showPercent val="0"/>
              <c:showBubbleSize val="0"/>
            </c:dLbl>
            <c:dLbl>
              <c:idx val="6"/>
              <c:tx>
                <c:rich>
                  <a:bodyPr/>
                  <a:lstStyle/>
                  <a:p>
                    <a:r>
                      <a:t>268.26</a:t>
                    </a:r>
                  </a:p>
                </c:rich>
              </c:tx>
              <c:dLblPos val="t"/>
              <c:showLegendKey val="0"/>
              <c:showVal val="1"/>
              <c:showCatName val="0"/>
              <c:showSerName val="0"/>
              <c:showPercent val="0"/>
              <c:showBubbleSize val="0"/>
            </c:dLbl>
            <c:dLbl>
              <c:idx val="7"/>
              <c:tx>
                <c:rich>
                  <a:bodyPr/>
                  <a:lstStyle/>
                  <a:p>
                    <a:r>
                      <a:t>189.54</a:t>
                    </a:r>
                  </a:p>
                </c:rich>
              </c:tx>
              <c:dLblPos val="t"/>
              <c:showLegendKey val="0"/>
              <c:showVal val="1"/>
              <c:showCatName val="0"/>
              <c:showSerName val="0"/>
              <c:showPercent val="0"/>
              <c:showBubbleSize val="0"/>
            </c:dLbl>
            <c:dLbl>
              <c:idx val="8"/>
              <c:tx>
                <c:rich>
                  <a:bodyPr/>
                  <a:lstStyle/>
                  <a:p>
                    <a:r>
                      <a:t>311.93</a:t>
                    </a:r>
                  </a:p>
                </c:rich>
              </c:tx>
              <c:dLblPos val="t"/>
              <c:showLegendKey val="0"/>
              <c:showVal val="1"/>
              <c:showCatName val="0"/>
              <c:showSerName val="0"/>
              <c:showPercent val="0"/>
              <c:showBubbleSize val="0"/>
            </c:dLbl>
            <c:dLbl>
              <c:idx val="9"/>
              <c:tx>
                <c:rich>
                  <a:bodyPr/>
                  <a:lstStyle/>
                  <a:p>
                    <a:r>
                      <a:t>101.15</a:t>
                    </a:r>
                  </a:p>
                </c:rich>
              </c:tx>
              <c:dLblPos val="t"/>
              <c:showLegendKey val="0"/>
              <c:showVal val="1"/>
              <c:showCatName val="0"/>
              <c:showSerName val="0"/>
              <c:showPercent val="0"/>
              <c:showBubbleSize val="0"/>
            </c:dLbl>
            <c:dLbl>
              <c:idx val="10"/>
              <c:tx>
                <c:rich>
                  <a:bodyPr/>
                  <a:lstStyle/>
                  <a:p>
                    <a:r>
                      <a:t>330.69</a:t>
                    </a:r>
                  </a:p>
                </c:rich>
              </c:tx>
              <c:dLblPos val="t"/>
              <c:showLegendKey val="0"/>
              <c:showVal val="1"/>
              <c:showCatName val="0"/>
              <c:showSerName val="0"/>
              <c:showPercent val="0"/>
              <c:showBubbleSize val="0"/>
            </c:dLbl>
            <c:dLbl>
              <c:idx val="11"/>
              <c:tx>
                <c:rich>
                  <a:bodyPr/>
                  <a:lstStyle/>
                  <a:p>
                    <a:r>
                      <a:t>298.88</a:t>
                    </a:r>
                  </a:p>
                </c:rich>
              </c:tx>
              <c:dLblPos val="t"/>
              <c:showLegendKey val="0"/>
              <c:showVal val="1"/>
              <c:showCatName val="0"/>
              <c:showSerName val="0"/>
              <c:showPercent val="0"/>
              <c:showBubbleSize val="0"/>
            </c:dLbl>
            <c:dLbl>
              <c:idx val="12"/>
              <c:tx>
                <c:rich>
                  <a:bodyPr/>
                  <a:lstStyle/>
                  <a:p>
                    <a:r>
                      <a:t>300.48</a:t>
                    </a:r>
                  </a:p>
                </c:rich>
              </c:tx>
              <c:dLblPos val="t"/>
              <c:showLegendKey val="0"/>
              <c:showVal val="1"/>
              <c:showCatName val="0"/>
              <c:showSerName val="0"/>
              <c:showPercent val="0"/>
              <c:showBubbleSize val="0"/>
            </c:dLbl>
            <c:dLbl>
              <c:idx val="13"/>
              <c:tx>
                <c:rich>
                  <a:bodyPr/>
                  <a:lstStyle/>
                  <a:p>
                    <a:r>
                      <a:t>312.87</a:t>
                    </a:r>
                  </a:p>
                </c:rich>
              </c:tx>
              <c:dLblPos val="t"/>
              <c:showLegendKey val="0"/>
              <c:showVal val="1"/>
              <c:showCatName val="0"/>
              <c:showSerName val="0"/>
              <c:showPercent val="0"/>
              <c:showBubbleSize val="0"/>
            </c:dLbl>
            <c:dLbl>
              <c:idx val="14"/>
              <c:tx>
                <c:rich>
                  <a:bodyPr/>
                  <a:lstStyle/>
                  <a:p>
                    <a:r>
                      <a:t>324.3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Edgewell Banana Boat Aqua Protect Sunscreen Adults Cosmetics Crema 50+ 236Ml</c:v>
                </c:pt>
                <c:pt idx="6">
                  <c:v>Edgewell Banana Boat Banded Pack Banded Pack 2X Sunscreen Multi 50+ 236Ml</c:v>
                </c:pt>
                <c:pt idx="7">
                  <c:v>Edgewell Hawaiian Tropic Sheer Touch Sunscreen Adults Cosmetics Crema 50 120Ml</c:v>
                </c:pt>
                <c:pt idx="8">
                  <c:v>Edgewell Banana Boat Dry Balance Sunscreen Adults Sport Spray Liquido 50 220Ml</c:v>
                </c:pt>
                <c:pt idx="9">
                  <c:v>Edgewell Hawaiian Tropic Ozono Sunscreen Adults Cosmetics Liquido 50+ 90Ml</c:v>
                </c:pt>
                <c:pt idx="10">
                  <c:v>Edgewell Hawaiian Tropic Ozono Sunscreen Adults Cosmetics Spray Liquido 50+ 180Ml</c:v>
                </c:pt>
                <c:pt idx="11">
                  <c:v>Edgewell Banana Boat Advanced Protection Sunscreen Adults Cosmetics Liquido 50+ 240Ml</c:v>
                </c:pt>
                <c:pt idx="12">
                  <c:v>Edgewell Hawaiian Tropic Sheer Touch Sunscreen Adults Cosmetics Crema 30 - 49 240Ml</c:v>
                </c:pt>
                <c:pt idx="13">
                  <c:v>Edgewell Banana Boat Aqua Protect Sunscreen Adults Cosmetics Spray Liquido 50+ 170Ml</c:v>
                </c:pt>
                <c:pt idx="14">
                  <c:v>Edgewell Hawaiian Tropic Island Sport Sunscreen Adults Sport Spray Liquido 50 220Ml</c:v>
                </c:pt>
              </c:strCache>
            </c:strRef>
          </c:cat>
          <c:val>
            <c:numRef>
              <c:f>Sheet1!$B$2:$B$16</c:f>
              <c:numCache>
                <c:formatCode>General</c:formatCode>
                <c:ptCount val="15"/>
                <c:pt idx="0">
                  <c:v>305.1</c:v>
                </c:pt>
                <c:pt idx="1">
                  <c:v>312.14</c:v>
                </c:pt>
                <c:pt idx="2">
                  <c:v>305.29</c:v>
                </c:pt>
                <c:pt idx="3">
                  <c:v>281.61</c:v>
                </c:pt>
                <c:pt idx="4">
                  <c:v>326.59</c:v>
                </c:pt>
                <c:pt idx="5">
                  <c:v>290.34</c:v>
                </c:pt>
                <c:pt idx="6">
                  <c:v>268.26</c:v>
                </c:pt>
                <c:pt idx="7">
                  <c:v>189.54</c:v>
                </c:pt>
                <c:pt idx="8">
                  <c:v>311.93</c:v>
                </c:pt>
                <c:pt idx="9">
                  <c:v>101.15</c:v>
                </c:pt>
                <c:pt idx="10">
                  <c:v>330.69</c:v>
                </c:pt>
                <c:pt idx="11">
                  <c:v>298.88</c:v>
                </c:pt>
                <c:pt idx="12">
                  <c:v>300.48</c:v>
                </c:pt>
                <c:pt idx="13">
                  <c:v>312.87</c:v>
                </c:pt>
                <c:pt idx="14">
                  <c:v>324.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9.72</a:t>
                    </a:r>
                  </a:p>
                </c:rich>
              </c:tx>
              <c:dLblPos val="t"/>
              <c:showLegendKey val="0"/>
              <c:showVal val="1"/>
              <c:showCatName val="0"/>
              <c:showSerName val="0"/>
              <c:showPercent val="0"/>
              <c:showBubbleSize val="0"/>
            </c:dLbl>
            <c:dLbl>
              <c:idx val="1"/>
              <c:tx>
                <c:rich>
                  <a:bodyPr/>
                  <a:lstStyle/>
                  <a:p>
                    <a:r>
                      <a:t>286.89</a:t>
                    </a:r>
                  </a:p>
                </c:rich>
              </c:tx>
              <c:dLblPos val="t"/>
              <c:showLegendKey val="0"/>
              <c:showVal val="1"/>
              <c:showCatName val="0"/>
              <c:showSerName val="0"/>
              <c:showPercent val="0"/>
              <c:showBubbleSize val="0"/>
            </c:dLbl>
            <c:dLbl>
              <c:idx val="2"/>
              <c:tx>
                <c:rich>
                  <a:bodyPr/>
                  <a:lstStyle/>
                  <a:p>
                    <a:r>
                      <a:t>278.07</a:t>
                    </a:r>
                  </a:p>
                </c:rich>
              </c:tx>
              <c:dLblPos val="t"/>
              <c:showLegendKey val="0"/>
              <c:showVal val="1"/>
              <c:showCatName val="0"/>
              <c:showSerName val="0"/>
              <c:showPercent val="0"/>
              <c:showBubbleSize val="0"/>
            </c:dLbl>
            <c:dLbl>
              <c:idx val="3"/>
              <c:tx>
                <c:rich>
                  <a:bodyPr/>
                  <a:lstStyle/>
                  <a:p>
                    <a:r>
                      <a:t>286.0</a:t>
                    </a:r>
                  </a:p>
                </c:rich>
              </c:tx>
              <c:dLblPos val="t"/>
              <c:showLegendKey val="0"/>
              <c:showVal val="1"/>
              <c:showCatName val="0"/>
              <c:showSerName val="0"/>
              <c:showPercent val="0"/>
              <c:showBubbleSize val="0"/>
            </c:dLbl>
            <c:dLbl>
              <c:idx val="4"/>
              <c:tx>
                <c:rich>
                  <a:bodyPr/>
                  <a:lstStyle/>
                  <a:p>
                    <a:r>
                      <a:t>309.4</a:t>
                    </a:r>
                  </a:p>
                </c:rich>
              </c:tx>
              <c:dLblPos val="t"/>
              <c:showLegendKey val="0"/>
              <c:showVal val="1"/>
              <c:showCatName val="0"/>
              <c:showSerName val="0"/>
              <c:showPercent val="0"/>
              <c:showBubbleSize val="0"/>
            </c:dLbl>
            <c:dLbl>
              <c:idx val="5"/>
              <c:tx>
                <c:rich>
                  <a:bodyPr/>
                  <a:lstStyle/>
                  <a:p>
                    <a:r>
                      <a:t>268.08</a:t>
                    </a:r>
                  </a:p>
                </c:rich>
              </c:tx>
              <c:dLblPos val="t"/>
              <c:showLegendKey val="0"/>
              <c:showVal val="1"/>
              <c:showCatName val="0"/>
              <c:showSerName val="0"/>
              <c:showPercent val="0"/>
              <c:showBubbleSize val="0"/>
            </c:dLbl>
            <c:dLbl>
              <c:idx val="6"/>
              <c:tx>
                <c:rich>
                  <a:bodyPr/>
                  <a:lstStyle/>
                  <a:p>
                    <a:r>
                      <a:t>308.58</a:t>
                    </a:r>
                  </a:p>
                </c:rich>
              </c:tx>
              <c:dLblPos val="t"/>
              <c:showLegendKey val="0"/>
              <c:showVal val="1"/>
              <c:showCatName val="0"/>
              <c:showSerName val="0"/>
              <c:showPercent val="0"/>
              <c:showBubbleSize val="0"/>
            </c:dLbl>
            <c:dLbl>
              <c:idx val="7"/>
              <c:tx>
                <c:rich>
                  <a:bodyPr/>
                  <a:lstStyle/>
                  <a:p>
                    <a:r>
                      <a:t>305.0</a:t>
                    </a:r>
                  </a:p>
                </c:rich>
              </c:tx>
              <c:dLblPos val="t"/>
              <c:showLegendKey val="0"/>
              <c:showVal val="1"/>
              <c:showCatName val="0"/>
              <c:showSerName val="0"/>
              <c:showPercent val="0"/>
              <c:showBubbleSize val="0"/>
            </c:dLbl>
            <c:dLbl>
              <c:idx val="8"/>
              <c:tx>
                <c:rich>
                  <a:bodyPr/>
                  <a:lstStyle/>
                  <a:p>
                    <a:r>
                      <a:t>312.34</a:t>
                    </a:r>
                  </a:p>
                </c:rich>
              </c:tx>
              <c:dLblPos val="t"/>
              <c:showLegendKey val="0"/>
              <c:showVal val="1"/>
              <c:showCatName val="0"/>
              <c:showSerName val="0"/>
              <c:showPercent val="0"/>
              <c:showBubbleSize val="0"/>
            </c:dLbl>
            <c:dLbl>
              <c:idx val="9"/>
              <c:tx>
                <c:rich>
                  <a:bodyPr/>
                  <a:lstStyle/>
                  <a:p>
                    <a:r>
                      <a:t>281.45</a:t>
                    </a:r>
                  </a:p>
                </c:rich>
              </c:tx>
              <c:dLblPos val="t"/>
              <c:showLegendKey val="0"/>
              <c:showVal val="1"/>
              <c:showCatName val="0"/>
              <c:showSerName val="0"/>
              <c:showPercent val="0"/>
              <c:showBubbleSize val="0"/>
            </c:dLbl>
            <c:dLbl>
              <c:idx val="10"/>
              <c:tx>
                <c:rich>
                  <a:bodyPr/>
                  <a:lstStyle/>
                  <a:p>
                    <a:r>
                      <a:t>254.7</a:t>
                    </a:r>
                  </a:p>
                </c:rich>
              </c:tx>
              <c:dLblPos val="t"/>
              <c:showLegendKey val="0"/>
              <c:showVal val="1"/>
              <c:showCatName val="0"/>
              <c:showSerName val="0"/>
              <c:showPercent val="0"/>
              <c:showBubbleSize val="0"/>
            </c:dLbl>
            <c:dLbl>
              <c:idx val="11"/>
              <c:tx>
                <c:rich>
                  <a:bodyPr/>
                  <a:lstStyle/>
                  <a:p>
                    <a:r>
                      <a:t>294.17</a:t>
                    </a:r>
                  </a:p>
                </c:rich>
              </c:tx>
              <c:dLblPos val="t"/>
              <c:showLegendKey val="0"/>
              <c:showVal val="1"/>
              <c:showCatName val="0"/>
              <c:showSerName val="0"/>
              <c:showPercent val="0"/>
              <c:showBubbleSize val="0"/>
            </c:dLbl>
            <c:dLbl>
              <c:idx val="12"/>
              <c:tx>
                <c:rich>
                  <a:bodyPr/>
                  <a:lstStyle/>
                  <a:p>
                    <a:r>
                      <a:t>104.39</a:t>
                    </a:r>
                  </a:p>
                </c:rich>
              </c:tx>
              <c:dLblPos val="t"/>
              <c:showLegendKey val="0"/>
              <c:showVal val="1"/>
              <c:showCatName val="0"/>
              <c:showSerName val="0"/>
              <c:showPercent val="0"/>
              <c:showBubbleSize val="0"/>
            </c:dLbl>
            <c:dLbl>
              <c:idx val="13"/>
              <c:tx>
                <c:rich>
                  <a:bodyPr/>
                  <a:lstStyle/>
                  <a:p>
                    <a:r>
                      <a:t>147.65</a:t>
                    </a:r>
                  </a:p>
                </c:rich>
              </c:tx>
              <c:dLblPos val="t"/>
              <c:showLegendKey val="0"/>
              <c:showVal val="1"/>
              <c:showCatName val="0"/>
              <c:showSerName val="0"/>
              <c:showPercent val="0"/>
              <c:showBubbleSize val="0"/>
            </c:dLbl>
            <c:dLbl>
              <c:idx val="14"/>
              <c:tx>
                <c:rich>
                  <a:bodyPr/>
                  <a:lstStyle/>
                  <a:p>
                    <a:r>
                      <a:t>278.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Edgewell Banana Boat Aqua Protect Sunscreen Adults Cosmetics Crema 50+ 236Ml</c:v>
                </c:pt>
                <c:pt idx="6">
                  <c:v>Edgewell Banana Boat Aqua Protect Sunscreen Adults Cosmetics Spray Liquido 50+ 170Ml</c:v>
                </c:pt>
                <c:pt idx="7">
                  <c:v>Edgewell Banana Boat Dry Balance Sunscreen Adults Sport Spray Liquido 50 220Ml</c:v>
                </c:pt>
                <c:pt idx="8">
                  <c:v>Edgewell Hawaiian Tropic Island Sport Sunscreen Adults Sport Spray Liquido 50 220Ml</c:v>
                </c:pt>
                <c:pt idx="9">
                  <c:v>Edgewell Banana Boat Advanced Protection Sunscreen Adults Cosmetics Liquido 50+ 240Ml</c:v>
                </c:pt>
                <c:pt idx="10">
                  <c:v>Edgewell Banana Boat Banded Pack Banded Pack 2X Sunscreen Multi 50+ 236Ml</c:v>
                </c:pt>
                <c:pt idx="11">
                  <c:v>Edgewell Hawaiian Tropic Ozono Sunscreen Adults Cosmetics Spray Liquido 50+ 180Ml</c:v>
                </c:pt>
                <c:pt idx="12">
                  <c:v>Edgewell Hawaiian Tropic Ozono Sunscreen Adults Cosmetics Liquido 50+ 9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289.72</c:v>
                </c:pt>
                <c:pt idx="1">
                  <c:v>286.89</c:v>
                </c:pt>
                <c:pt idx="2">
                  <c:v>278.07</c:v>
                </c:pt>
                <c:pt idx="3">
                  <c:v>286.0</c:v>
                </c:pt>
                <c:pt idx="4">
                  <c:v>309.4</c:v>
                </c:pt>
                <c:pt idx="5">
                  <c:v>268.08</c:v>
                </c:pt>
                <c:pt idx="6">
                  <c:v>308.58</c:v>
                </c:pt>
                <c:pt idx="7">
                  <c:v>305.0</c:v>
                </c:pt>
                <c:pt idx="8">
                  <c:v>312.34</c:v>
                </c:pt>
                <c:pt idx="9">
                  <c:v>281.45</c:v>
                </c:pt>
                <c:pt idx="10">
                  <c:v>254.7</c:v>
                </c:pt>
                <c:pt idx="11">
                  <c:v>294.17</c:v>
                </c:pt>
                <c:pt idx="12">
                  <c:v>104.39</c:v>
                </c:pt>
                <c:pt idx="13">
                  <c:v>147.65</c:v>
                </c:pt>
                <c:pt idx="14">
                  <c:v>278.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91</a:t>
                    </a:r>
                  </a:p>
                </c:rich>
              </c:tx>
              <c:dLblPos val="t"/>
              <c:showLegendKey val="0"/>
              <c:showVal val="1"/>
              <c:showCatName val="0"/>
              <c:showSerName val="0"/>
              <c:showPercent val="0"/>
              <c:showBubbleSize val="0"/>
            </c:dLbl>
            <c:dLbl>
              <c:idx val="1"/>
              <c:tx>
                <c:rich>
                  <a:bodyPr/>
                  <a:lstStyle/>
                  <a:p>
                    <a:r>
                      <a:t>295.5</a:t>
                    </a:r>
                  </a:p>
                </c:rich>
              </c:tx>
              <c:dLblPos val="t"/>
              <c:showLegendKey val="0"/>
              <c:showVal val="1"/>
              <c:showCatName val="0"/>
              <c:showSerName val="0"/>
              <c:showPercent val="0"/>
              <c:showBubbleSize val="0"/>
            </c:dLbl>
            <c:dLbl>
              <c:idx val="2"/>
              <c:tx>
                <c:rich>
                  <a:bodyPr/>
                  <a:lstStyle/>
                  <a:p>
                    <a:r>
                      <a:t>286.35</a:t>
                    </a:r>
                  </a:p>
                </c:rich>
              </c:tx>
              <c:dLblPos val="t"/>
              <c:showLegendKey val="0"/>
              <c:showVal val="1"/>
              <c:showCatName val="0"/>
              <c:showSerName val="0"/>
              <c:showPercent val="0"/>
              <c:showBubbleSize val="0"/>
            </c:dLbl>
            <c:dLbl>
              <c:idx val="3"/>
              <c:tx>
                <c:rich>
                  <a:bodyPr/>
                  <a:lstStyle/>
                  <a:p>
                    <a:r>
                      <a:t>292.61</a:t>
                    </a:r>
                  </a:p>
                </c:rich>
              </c:tx>
              <c:dLblPos val="t"/>
              <c:showLegendKey val="0"/>
              <c:showVal val="1"/>
              <c:showCatName val="0"/>
              <c:showSerName val="0"/>
              <c:showPercent val="0"/>
              <c:showBubbleSize val="0"/>
            </c:dLbl>
            <c:dLbl>
              <c:idx val="4"/>
              <c:tx>
                <c:rich>
                  <a:bodyPr/>
                  <a:lstStyle/>
                  <a:p>
                    <a:r>
                      <a:t>320.31</a:t>
                    </a:r>
                  </a:p>
                </c:rich>
              </c:tx>
              <c:dLblPos val="t"/>
              <c:showLegendKey val="0"/>
              <c:showVal val="1"/>
              <c:showCatName val="0"/>
              <c:showSerName val="0"/>
              <c:showPercent val="0"/>
              <c:showBubbleSize val="0"/>
            </c:dLbl>
            <c:dLbl>
              <c:idx val="5"/>
              <c:tx>
                <c:rich>
                  <a:bodyPr/>
                  <a:lstStyle/>
                  <a:p>
                    <a:r>
                      <a:t>274.64</a:t>
                    </a:r>
                  </a:p>
                </c:rich>
              </c:tx>
              <c:dLblPos val="t"/>
              <c:showLegendKey val="0"/>
              <c:showVal val="1"/>
              <c:showCatName val="0"/>
              <c:showSerName val="0"/>
              <c:showPercent val="0"/>
              <c:showBubbleSize val="0"/>
            </c:dLbl>
            <c:dLbl>
              <c:idx val="6"/>
              <c:tx>
                <c:rich>
                  <a:bodyPr/>
                  <a:lstStyle/>
                  <a:p>
                    <a:r>
                      <a:t>312.46</a:t>
                    </a:r>
                  </a:p>
                </c:rich>
              </c:tx>
              <c:dLblPos val="t"/>
              <c:showLegendKey val="0"/>
              <c:showVal val="1"/>
              <c:showCatName val="0"/>
              <c:showSerName val="0"/>
              <c:showPercent val="0"/>
              <c:showBubbleSize val="0"/>
            </c:dLbl>
            <c:dLbl>
              <c:idx val="7"/>
              <c:tx>
                <c:rich>
                  <a:bodyPr/>
                  <a:lstStyle/>
                  <a:p>
                    <a:r>
                      <a:t>314.98</a:t>
                    </a:r>
                  </a:p>
                </c:rich>
              </c:tx>
              <c:dLblPos val="t"/>
              <c:showLegendKey val="0"/>
              <c:showVal val="1"/>
              <c:showCatName val="0"/>
              <c:showSerName val="0"/>
              <c:showPercent val="0"/>
              <c:showBubbleSize val="0"/>
            </c:dLbl>
            <c:dLbl>
              <c:idx val="8"/>
              <c:tx>
                <c:rich>
                  <a:bodyPr/>
                  <a:lstStyle/>
                  <a:p>
                    <a:r>
                      <a:t>323.42</a:t>
                    </a:r>
                  </a:p>
                </c:rich>
              </c:tx>
              <c:dLblPos val="t"/>
              <c:showLegendKey val="0"/>
              <c:showVal val="1"/>
              <c:showCatName val="0"/>
              <c:showSerName val="0"/>
              <c:showPercent val="0"/>
              <c:showBubbleSize val="0"/>
            </c:dLbl>
            <c:dLbl>
              <c:idx val="9"/>
              <c:tx>
                <c:rich>
                  <a:bodyPr/>
                  <a:lstStyle/>
                  <a:p>
                    <a:r>
                      <a:t>286.78</a:t>
                    </a:r>
                  </a:p>
                </c:rich>
              </c:tx>
              <c:dLblPos val="t"/>
              <c:showLegendKey val="0"/>
              <c:showVal val="1"/>
              <c:showCatName val="0"/>
              <c:showSerName val="0"/>
              <c:showPercent val="0"/>
              <c:showBubbleSize val="0"/>
            </c:dLbl>
            <c:dLbl>
              <c:idx val="10"/>
              <c:tx>
                <c:rich>
                  <a:bodyPr/>
                  <a:lstStyle/>
                  <a:p>
                    <a:r>
                      <a:t>266.75</a:t>
                    </a:r>
                  </a:p>
                </c:rich>
              </c:tx>
              <c:dLblPos val="t"/>
              <c:showLegendKey val="0"/>
              <c:showVal val="1"/>
              <c:showCatName val="0"/>
              <c:showSerName val="0"/>
              <c:showPercent val="0"/>
              <c:showBubbleSize val="0"/>
            </c:dLbl>
            <c:dLbl>
              <c:idx val="11"/>
              <c:tx>
                <c:rich>
                  <a:bodyPr/>
                  <a:lstStyle/>
                  <a:p>
                    <a:r>
                      <a:t>309.18</a:t>
                    </a:r>
                  </a:p>
                </c:rich>
              </c:tx>
              <c:dLblPos val="t"/>
              <c:showLegendKey val="0"/>
              <c:showVal val="1"/>
              <c:showCatName val="0"/>
              <c:showSerName val="0"/>
              <c:showPercent val="0"/>
              <c:showBubbleSize val="0"/>
            </c:dLbl>
            <c:dLbl>
              <c:idx val="12"/>
              <c:tx>
                <c:rich>
                  <a:bodyPr/>
                  <a:lstStyle/>
                  <a:p>
                    <a:r>
                      <a:t>105.11</a:t>
                    </a:r>
                  </a:p>
                </c:rich>
              </c:tx>
              <c:dLblPos val="t"/>
              <c:showLegendKey val="0"/>
              <c:showVal val="1"/>
              <c:showCatName val="0"/>
              <c:showSerName val="0"/>
              <c:showPercent val="0"/>
              <c:showBubbleSize val="0"/>
            </c:dLbl>
            <c:dLbl>
              <c:idx val="13"/>
              <c:tx>
                <c:rich>
                  <a:bodyPr/>
                  <a:lstStyle/>
                  <a:p>
                    <a:r>
                      <a:t>148.93</a:t>
                    </a:r>
                  </a:p>
                </c:rich>
              </c:tx>
              <c:dLblPos val="t"/>
              <c:showLegendKey val="0"/>
              <c:showVal val="1"/>
              <c:showCatName val="0"/>
              <c:showSerName val="0"/>
              <c:showPercent val="0"/>
              <c:showBubbleSize val="0"/>
            </c:dLbl>
            <c:dLbl>
              <c:idx val="14"/>
              <c:tx>
                <c:rich>
                  <a:bodyPr/>
                  <a:lstStyle/>
                  <a:p>
                    <a:r>
                      <a:t>279.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Edgewell Banana Boat Aqua Protect Sunscreen Adults Cosmetics Crema 50+ 236Ml</c:v>
                </c:pt>
                <c:pt idx="6">
                  <c:v>Edgewell Banana Boat Aqua Protect Sunscreen Adults Cosmetics Spray Liquido 50+ 170Ml</c:v>
                </c:pt>
                <c:pt idx="7">
                  <c:v>Edgewell Banana Boat Dry Balance Sunscreen Adults Sport Spray Liquido 50 220Ml</c:v>
                </c:pt>
                <c:pt idx="8">
                  <c:v>Edgewell Hawaiian Tropic Island Sport Sunscreen Adults Sport Spray Liquido 50 220Ml</c:v>
                </c:pt>
                <c:pt idx="9">
                  <c:v>Edgewell Banana Boat Advanced Protection Sunscreen Adults Cosmetics Liquido 50+ 240Ml</c:v>
                </c:pt>
                <c:pt idx="10">
                  <c:v>Edgewell Banana Boat Banded Pack Banded Pack 2X Sunscreen Multi 50+ 236Ml</c:v>
                </c:pt>
                <c:pt idx="11">
                  <c:v>Edgewell Hawaiian Tropic Ozono Sunscreen Adults Cosmetics Spray Liquido 50+ 180Ml</c:v>
                </c:pt>
                <c:pt idx="12">
                  <c:v>Edgewell Hawaiian Tropic Ozono Sunscreen Adults Cosmetics Liquido 50+ 9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291.91</c:v>
                </c:pt>
                <c:pt idx="1">
                  <c:v>295.5</c:v>
                </c:pt>
                <c:pt idx="2">
                  <c:v>286.35</c:v>
                </c:pt>
                <c:pt idx="3">
                  <c:v>292.61</c:v>
                </c:pt>
                <c:pt idx="4">
                  <c:v>320.31</c:v>
                </c:pt>
                <c:pt idx="5">
                  <c:v>274.64</c:v>
                </c:pt>
                <c:pt idx="6">
                  <c:v>312.46</c:v>
                </c:pt>
                <c:pt idx="7">
                  <c:v>314.98</c:v>
                </c:pt>
                <c:pt idx="8">
                  <c:v>323.42</c:v>
                </c:pt>
                <c:pt idx="9">
                  <c:v>286.78</c:v>
                </c:pt>
                <c:pt idx="10">
                  <c:v>266.75</c:v>
                </c:pt>
                <c:pt idx="11">
                  <c:v>309.18</c:v>
                </c:pt>
                <c:pt idx="12">
                  <c:v>105.11</c:v>
                </c:pt>
                <c:pt idx="13">
                  <c:v>148.93</c:v>
                </c:pt>
                <c:pt idx="14">
                  <c:v>279.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3</a:t>
                    </a:r>
                  </a:p>
                </c:rich>
              </c:tx>
              <c:dLblPos val="t"/>
              <c:showLegendKey val="0"/>
              <c:showVal val="1"/>
              <c:showCatName val="0"/>
              <c:showSerName val="0"/>
              <c:showPercent val="0"/>
              <c:showBubbleSize val="0"/>
            </c:dLbl>
            <c:dLbl>
              <c:idx val="1"/>
              <c:tx>
                <c:rich>
                  <a:bodyPr/>
                  <a:lstStyle/>
                  <a:p>
                    <a:r>
                      <a:t>308.97</a:t>
                    </a:r>
                  </a:p>
                </c:rich>
              </c:tx>
              <c:dLblPos val="t"/>
              <c:showLegendKey val="0"/>
              <c:showVal val="1"/>
              <c:showCatName val="0"/>
              <c:showSerName val="0"/>
              <c:showPercent val="0"/>
              <c:showBubbleSize val="0"/>
            </c:dLbl>
            <c:dLbl>
              <c:idx val="2"/>
              <c:tx>
                <c:rich>
                  <a:bodyPr/>
                  <a:lstStyle/>
                  <a:p>
                    <a:r>
                      <a:t>337.37</a:t>
                    </a:r>
                  </a:p>
                </c:rich>
              </c:tx>
              <c:dLblPos val="t"/>
              <c:showLegendKey val="0"/>
              <c:showVal val="1"/>
              <c:showCatName val="0"/>
              <c:showSerName val="0"/>
              <c:showPercent val="0"/>
              <c:showBubbleSize val="0"/>
            </c:dLbl>
            <c:dLbl>
              <c:idx val="3"/>
              <c:tx>
                <c:rich>
                  <a:bodyPr/>
                  <a:lstStyle/>
                  <a:p>
                    <a:r>
                      <a:t>327.72</a:t>
                    </a:r>
                  </a:p>
                </c:rich>
              </c:tx>
              <c:dLblPos val="t"/>
              <c:showLegendKey val="0"/>
              <c:showVal val="1"/>
              <c:showCatName val="0"/>
              <c:showSerName val="0"/>
              <c:showPercent val="0"/>
              <c:showBubbleSize val="0"/>
            </c:dLbl>
            <c:dLbl>
              <c:idx val="4"/>
              <c:tx>
                <c:rich>
                  <a:bodyPr/>
                  <a:lstStyle/>
                  <a:p>
                    <a:r>
                      <a:t>338.35</a:t>
                    </a:r>
                  </a:p>
                </c:rich>
              </c:tx>
              <c:dLblPos val="t"/>
              <c:showLegendKey val="0"/>
              <c:showVal val="1"/>
              <c:showCatName val="0"/>
              <c:showSerName val="0"/>
              <c:showPercent val="0"/>
              <c:showBubbleSize val="0"/>
            </c:dLbl>
            <c:dLbl>
              <c:idx val="5"/>
              <c:tx>
                <c:rich>
                  <a:bodyPr/>
                  <a:lstStyle/>
                  <a:p>
                    <a:r>
                      <a:t>322.45</a:t>
                    </a:r>
                  </a:p>
                </c:rich>
              </c:tx>
              <c:dLblPos val="t"/>
              <c:showLegendKey val="0"/>
              <c:showVal val="1"/>
              <c:showCatName val="0"/>
              <c:showSerName val="0"/>
              <c:showPercent val="0"/>
              <c:showBubbleSize val="0"/>
            </c:dLbl>
            <c:dLbl>
              <c:idx val="6"/>
              <c:tx>
                <c:rich>
                  <a:bodyPr/>
                  <a:lstStyle/>
                  <a:p>
                    <a:r>
                      <a:t>332.96</a:t>
                    </a:r>
                  </a:p>
                </c:rich>
              </c:tx>
              <c:dLblPos val="t"/>
              <c:showLegendKey val="0"/>
              <c:showVal val="1"/>
              <c:showCatName val="0"/>
              <c:showSerName val="0"/>
              <c:showPercent val="0"/>
              <c:showBubbleSize val="0"/>
            </c:dLbl>
            <c:dLbl>
              <c:idx val="7"/>
              <c:tx>
                <c:rich>
                  <a:bodyPr/>
                  <a:lstStyle/>
                  <a:p>
                    <a:r>
                      <a:t>81.09</a:t>
                    </a:r>
                  </a:p>
                </c:rich>
              </c:tx>
              <c:dLblPos val="t"/>
              <c:showLegendKey val="0"/>
              <c:showVal val="1"/>
              <c:showCatName val="0"/>
              <c:showSerName val="0"/>
              <c:showPercent val="0"/>
              <c:showBubbleSize val="0"/>
            </c:dLbl>
            <c:dLbl>
              <c:idx val="8"/>
              <c:tx>
                <c:rich>
                  <a:bodyPr/>
                  <a:lstStyle/>
                  <a:p>
                    <a:r>
                      <a:t>319.96</a:t>
                    </a:r>
                  </a:p>
                </c:rich>
              </c:tx>
              <c:dLblPos val="t"/>
              <c:showLegendKey val="0"/>
              <c:showVal val="1"/>
              <c:showCatName val="0"/>
              <c:showSerName val="0"/>
              <c:showPercent val="0"/>
              <c:showBubbleSize val="0"/>
            </c:dLbl>
            <c:dLbl>
              <c:idx val="9"/>
              <c:tx>
                <c:rich>
                  <a:bodyPr/>
                  <a:lstStyle/>
                  <a:p>
                    <a:r>
                      <a:t>345.63</a:t>
                    </a:r>
                  </a:p>
                </c:rich>
              </c:tx>
              <c:dLblPos val="t"/>
              <c:showLegendKey val="0"/>
              <c:showVal val="1"/>
              <c:showCatName val="0"/>
              <c:showSerName val="0"/>
              <c:showPercent val="0"/>
              <c:showBubbleSize val="0"/>
            </c:dLbl>
            <c:dLbl>
              <c:idx val="10"/>
              <c:tx>
                <c:rich>
                  <a:bodyPr/>
                  <a:lstStyle/>
                  <a:p>
                    <a:r>
                      <a:t>398.73</a:t>
                    </a:r>
                  </a:p>
                </c:rich>
              </c:tx>
              <c:dLblPos val="t"/>
              <c:showLegendKey val="0"/>
              <c:showVal val="1"/>
              <c:showCatName val="0"/>
              <c:showSerName val="0"/>
              <c:showPercent val="0"/>
              <c:showBubbleSize val="0"/>
            </c:dLbl>
            <c:dLbl>
              <c:idx val="11"/>
              <c:tx>
                <c:rich>
                  <a:bodyPr/>
                  <a:lstStyle/>
                  <a:p>
                    <a:r>
                      <a:t>343.91</a:t>
                    </a:r>
                  </a:p>
                </c:rich>
              </c:tx>
              <c:dLblPos val="t"/>
              <c:showLegendKey val="0"/>
              <c:showVal val="1"/>
              <c:showCatName val="0"/>
              <c:showSerName val="0"/>
              <c:showPercent val="0"/>
              <c:showBubbleSize val="0"/>
            </c:dLbl>
            <c:dLbl>
              <c:idx val="12"/>
              <c:tx>
                <c:rich>
                  <a:bodyPr/>
                  <a:lstStyle/>
                  <a:p>
                    <a:r>
                      <a:t>102.13</a:t>
                    </a:r>
                  </a:p>
                </c:rich>
              </c:tx>
              <c:dLblPos val="t"/>
              <c:showLegendKey val="0"/>
              <c:showVal val="1"/>
              <c:showCatName val="0"/>
              <c:showSerName val="0"/>
              <c:showPercent val="0"/>
              <c:showBubbleSize val="0"/>
            </c:dLbl>
            <c:dLbl>
              <c:idx val="13"/>
              <c:tx>
                <c:rich>
                  <a:bodyPr/>
                  <a:lstStyle/>
                  <a:p>
                    <a:r>
                      <a:t>156.76</a:t>
                    </a:r>
                  </a:p>
                </c:rich>
              </c:tx>
              <c:dLblPos val="t"/>
              <c:showLegendKey val="0"/>
              <c:showVal val="1"/>
              <c:showCatName val="0"/>
              <c:showSerName val="0"/>
              <c:showPercent val="0"/>
              <c:showBubbleSize val="0"/>
            </c:dLbl>
            <c:dLbl>
              <c:idx val="14"/>
              <c:tx>
                <c:rich>
                  <a:bodyPr/>
                  <a:lstStyle/>
                  <a:p>
                    <a:r>
                      <a:t>271.1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Banana Boat Aqua Protect Sunscreen Adults Cosmetics Spray Liquido 50+ 170Ml</c:v>
                </c:pt>
                <c:pt idx="4">
                  <c:v>Edgewell Hawaiian Tropic Island Sport Sunscreen Adults Sport Spray Liquido 50 220Ml</c:v>
                </c:pt>
                <c:pt idx="5">
                  <c:v>Edgewell Hawaiian Tropic Island Sport Sunscreen Adults Sport Liquido 50 240Ml</c:v>
                </c:pt>
                <c:pt idx="6">
                  <c:v>Edgewell Banana Boat Dry Balance Sunscreen Adults Sport Spray Liquido 50 220Ml</c:v>
                </c:pt>
                <c:pt idx="7">
                  <c:v>Edgewell Banana Boat Advanced Protection Sunscreen Adults Cosmetics Liquido 50+ 60Ml</c:v>
                </c:pt>
                <c:pt idx="8">
                  <c:v>Edgewell Banana Boat Advanced Protection Sunscreen Adults Cosmetics Liquido 50+ 240Ml</c:v>
                </c:pt>
                <c:pt idx="9">
                  <c:v>Edgewell Banana Boat Mineral Sunscreen Kids Cosmetics Locion 50 180Ml</c:v>
                </c:pt>
                <c:pt idx="10">
                  <c:v>Edgewell Banana Boat Banded Pack Banded Pack 2X Sunscreen Multi 50+ 170Ml</c:v>
                </c:pt>
                <c:pt idx="11">
                  <c:v>Edgewell Banana Boat Mineral Sunscreen Adults Sport Locion 50 180Ml</c:v>
                </c:pt>
                <c:pt idx="12">
                  <c:v>Edgewell Banana Boat Dry Balance Sunscreen Adults Sport Locion 50+ 6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3.93</c:v>
                </c:pt>
                <c:pt idx="1">
                  <c:v>308.97</c:v>
                </c:pt>
                <c:pt idx="2">
                  <c:v>337.37</c:v>
                </c:pt>
                <c:pt idx="3">
                  <c:v>327.72</c:v>
                </c:pt>
                <c:pt idx="4">
                  <c:v>338.35</c:v>
                </c:pt>
                <c:pt idx="5">
                  <c:v>322.45</c:v>
                </c:pt>
                <c:pt idx="6">
                  <c:v>332.96</c:v>
                </c:pt>
                <c:pt idx="7">
                  <c:v>81.09</c:v>
                </c:pt>
                <c:pt idx="8">
                  <c:v>319.96</c:v>
                </c:pt>
                <c:pt idx="9">
                  <c:v>345.63</c:v>
                </c:pt>
                <c:pt idx="10">
                  <c:v>398.73</c:v>
                </c:pt>
                <c:pt idx="11">
                  <c:v>343.91</c:v>
                </c:pt>
                <c:pt idx="12">
                  <c:v>102.13</c:v>
                </c:pt>
                <c:pt idx="13">
                  <c:v>156.76</c:v>
                </c:pt>
                <c:pt idx="14">
                  <c:v>27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50.75</a:t>
                    </a:r>
                  </a:p>
                </c:rich>
              </c:tx>
              <c:dLblPos val="t"/>
              <c:showLegendKey val="0"/>
              <c:showVal val="1"/>
              <c:showCatName val="0"/>
              <c:showSerName val="0"/>
              <c:showPercent val="0"/>
              <c:showBubbleSize val="0"/>
            </c:dLbl>
            <c:dLbl>
              <c:idx val="2"/>
              <c:tx>
                <c:rich>
                  <a:bodyPr/>
                  <a:lstStyle/>
                  <a:p>
                    <a:r>
                      <a:t>310.56</a:t>
                    </a:r>
                  </a:p>
                </c:rich>
              </c:tx>
              <c:dLblPos val="t"/>
              <c:showLegendKey val="0"/>
              <c:showVal val="1"/>
              <c:showCatName val="0"/>
              <c:showSerName val="0"/>
              <c:showPercent val="0"/>
              <c:showBubbleSize val="0"/>
            </c:dLbl>
            <c:dLbl>
              <c:idx val="3"/>
              <c:tx>
                <c:rich>
                  <a:bodyPr/>
                  <a:lstStyle/>
                  <a:p>
                    <a:r>
                      <a:t>93.72</a:t>
                    </a:r>
                  </a:p>
                </c:rich>
              </c:tx>
              <c:dLblPos val="t"/>
              <c:showLegendKey val="0"/>
              <c:showVal val="1"/>
              <c:showCatName val="0"/>
              <c:showSerName val="0"/>
              <c:showPercent val="0"/>
              <c:showBubbleSize val="0"/>
            </c:dLbl>
            <c:dLbl>
              <c:idx val="4"/>
              <c:tx>
                <c:rich>
                  <a:bodyPr/>
                  <a:lstStyle/>
                  <a:p>
                    <a:r>
                      <a:t>220.0</a:t>
                    </a:r>
                  </a:p>
                </c:rich>
              </c:tx>
              <c:dLblPos val="t"/>
              <c:showLegendKey val="0"/>
              <c:showVal val="1"/>
              <c:showCatName val="0"/>
              <c:showSerName val="0"/>
              <c:showPercent val="0"/>
              <c:showBubbleSize val="0"/>
            </c:dLbl>
            <c:dLbl>
              <c:idx val="5"/>
              <c:tx>
                <c:rich>
                  <a:bodyPr/>
                  <a:lstStyle/>
                  <a:p>
                    <a:r>
                      <a:t>268.66</a:t>
                    </a:r>
                  </a:p>
                </c:rich>
              </c:tx>
              <c:dLblPos val="t"/>
              <c:showLegendKey val="0"/>
              <c:showVal val="1"/>
              <c:showCatName val="0"/>
              <c:showSerName val="0"/>
              <c:showPercent val="0"/>
              <c:showBubbleSize val="0"/>
            </c:dLbl>
            <c:dLbl>
              <c:idx val="6"/>
              <c:tx>
                <c:rich>
                  <a:bodyPr/>
                  <a:lstStyle/>
                  <a:p>
                    <a:r>
                      <a:t>248.86</a:t>
                    </a:r>
                  </a:p>
                </c:rich>
              </c:tx>
              <c:dLblPos val="t"/>
              <c:showLegendKey val="0"/>
              <c:showVal val="1"/>
              <c:showCatName val="0"/>
              <c:showSerName val="0"/>
              <c:showPercent val="0"/>
              <c:showBubbleSize val="0"/>
            </c:dLbl>
            <c:dLbl>
              <c:idx val="7"/>
              <c:tx>
                <c:rich>
                  <a:bodyPr/>
                  <a:lstStyle/>
                  <a:p>
                    <a:r>
                      <a:t>253.23</a:t>
                    </a:r>
                  </a:p>
                </c:rich>
              </c:tx>
              <c:dLblPos val="t"/>
              <c:showLegendKey val="0"/>
              <c:showVal val="1"/>
              <c:showCatName val="0"/>
              <c:showSerName val="0"/>
              <c:showPercent val="0"/>
              <c:showBubbleSize val="0"/>
            </c:dLbl>
            <c:dLbl>
              <c:idx val="8"/>
              <c:tx>
                <c:rich>
                  <a:bodyPr/>
                  <a:lstStyle/>
                  <a:p>
                    <a:r>
                      <a:t>249.96</a:t>
                    </a:r>
                  </a:p>
                </c:rich>
              </c:tx>
              <c:dLblPos val="t"/>
              <c:showLegendKey val="0"/>
              <c:showVal val="1"/>
              <c:showCatName val="0"/>
              <c:showSerName val="0"/>
              <c:showPercent val="0"/>
              <c:showBubbleSize val="0"/>
            </c:dLbl>
            <c:dLbl>
              <c:idx val="9"/>
              <c:tx>
                <c:rich>
                  <a:bodyPr/>
                  <a:lstStyle/>
                  <a:p>
                    <a:r>
                      <a:t>281.29</a:t>
                    </a:r>
                  </a:p>
                </c:rich>
              </c:tx>
              <c:dLblPos val="t"/>
              <c:showLegendKey val="0"/>
              <c:showVal val="1"/>
              <c:showCatName val="0"/>
              <c:showSerName val="0"/>
              <c:showPercent val="0"/>
              <c:showBubbleSize val="0"/>
            </c:dLbl>
            <c:dLbl>
              <c:idx val="10"/>
              <c:tx>
                <c:rich>
                  <a:bodyPr/>
                  <a:lstStyle/>
                  <a:p>
                    <a:r>
                      <a:t>72.25</a:t>
                    </a:r>
                  </a:p>
                </c:rich>
              </c:tx>
              <c:dLblPos val="t"/>
              <c:showLegendKey val="0"/>
              <c:showVal val="1"/>
              <c:showCatName val="0"/>
              <c:showSerName val="0"/>
              <c:showPercent val="0"/>
              <c:showBubbleSize val="0"/>
            </c:dLbl>
            <c:dLbl>
              <c:idx val="11"/>
              <c:tx>
                <c:rich>
                  <a:bodyPr/>
                  <a:lstStyle/>
                  <a:p>
                    <a:r>
                      <a:t>247.96</a:t>
                    </a:r>
                  </a:p>
                </c:rich>
              </c:tx>
              <c:dLblPos val="t"/>
              <c:showLegendKey val="0"/>
              <c:showVal val="1"/>
              <c:showCatName val="0"/>
              <c:showSerName val="0"/>
              <c:showPercent val="0"/>
              <c:showBubbleSize val="0"/>
            </c:dLbl>
            <c:dLbl>
              <c:idx val="12"/>
              <c:tx>
                <c:rich>
                  <a:bodyPr/>
                  <a:lstStyle/>
                  <a:p>
                    <a:r>
                      <a:t>133.0</a:t>
                    </a:r>
                  </a:p>
                </c:rich>
              </c:tx>
              <c:dLblPos val="t"/>
              <c:showLegendKey val="0"/>
              <c:showVal val="1"/>
              <c:showCatName val="0"/>
              <c:showSerName val="0"/>
              <c:showPercent val="0"/>
              <c:showBubbleSize val="0"/>
            </c:dLbl>
            <c:dLbl>
              <c:idx val="13"/>
              <c:tx>
                <c:rich>
                  <a:bodyPr/>
                  <a:lstStyle/>
                  <a:p>
                    <a:r>
                      <a:t>175.6</a:t>
                    </a:r>
                  </a:p>
                </c:rich>
              </c:tx>
              <c:dLblPos val="t"/>
              <c:showLegendKey val="0"/>
              <c:showVal val="1"/>
              <c:showCatName val="0"/>
              <c:showSerName val="0"/>
              <c:showPercent val="0"/>
              <c:showBubbleSize val="0"/>
            </c:dLbl>
            <c:dLbl>
              <c:idx val="14"/>
              <c:tx>
                <c:rich>
                  <a:bodyPr/>
                  <a:lstStyle/>
                  <a:p>
                    <a:r>
                      <a:t>19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Hawaiian Tropic Other Sunscreen Adults Cosmetics Crema 50+ 240Ml</c:v>
                </c:pt>
                <c:pt idx="2">
                  <c:v>Edgewell Banana Boat Banded Pack Banded Pack 2X Sunscreen Multi 50+ 170Ml</c:v>
                </c:pt>
                <c:pt idx="3">
                  <c:v>Edgewell Banana Boat Advanced Protection Sunscreen Adults Cosmetics Liquido 50+ 60Ml</c:v>
                </c:pt>
                <c:pt idx="4">
                  <c:v>Edgewell Banana Boat Mineral Sunscreen Adults Sport Locion 50 180Ml</c:v>
                </c:pt>
                <c:pt idx="5">
                  <c:v>Edgewell Banana Boat Aqua Protect Sunscreen Adults Sport Crema 50+ 236Ml</c:v>
                </c:pt>
                <c:pt idx="6">
                  <c:v>Edgewell Banana Boat Advanced Protection Sunscreen Adults Sport Liquido 50 180Ml</c:v>
                </c:pt>
                <c:pt idx="7">
                  <c:v>Edgewell Hawaiian Tropic Island Sport Sunscreen Adults Sport Liquido 50 240Ml</c:v>
                </c:pt>
                <c:pt idx="8">
                  <c:v>Edgewell Banana Boat Mineral Sunscreen Adults Cosmetics Locion 50 60Ml</c:v>
                </c:pt>
                <c:pt idx="9">
                  <c:v>Edgewell Hawaiian Tropic Ozono Sunscreen Adults Cosmetics Liquido 50+ 180Ml</c:v>
                </c:pt>
                <c:pt idx="10">
                  <c:v>Edgewell Hawaiian Tropic Island Sport Sunscreen Adults Sport Liquido 50 60Ml</c:v>
                </c:pt>
                <c:pt idx="11">
                  <c:v>Edgewell Hawaiian Tropic Ozono Sunscreen Adults Cosmetics Liquido 50+ 240Ml</c:v>
                </c:pt>
                <c:pt idx="12">
                  <c:v>Edgewell Hawaiian Tropic Sheer Touch Sunscreen Adults Cosmetics Liquido 30 - 49 60Ml</c:v>
                </c:pt>
                <c:pt idx="13">
                  <c:v>Edgewell Hawaiian Tropic After Sun After Sun Adults Cosmetics Gel 0 - 5 240Ml</c:v>
                </c:pt>
                <c:pt idx="14">
                  <c:v>Edgewell Hawaiian Tropic After Sun After Sun Adults Cosmetics Crema 0 - 5 180Ml</c:v>
                </c:pt>
              </c:strCache>
            </c:strRef>
          </c:cat>
          <c:val>
            <c:numRef>
              <c:f>Sheet1!$B$2:$B$16</c:f>
              <c:numCache>
                <c:formatCode>General</c:formatCode>
                <c:ptCount val="15"/>
                <c:pt idx="0">
                  <c:v>240.0</c:v>
                </c:pt>
                <c:pt idx="1">
                  <c:v>250.75</c:v>
                </c:pt>
                <c:pt idx="2">
                  <c:v>310.56</c:v>
                </c:pt>
                <c:pt idx="3">
                  <c:v>93.72</c:v>
                </c:pt>
                <c:pt idx="4">
                  <c:v>220.0</c:v>
                </c:pt>
                <c:pt idx="5">
                  <c:v>268.66</c:v>
                </c:pt>
                <c:pt idx="6">
                  <c:v>248.86</c:v>
                </c:pt>
                <c:pt idx="7">
                  <c:v>253.23</c:v>
                </c:pt>
                <c:pt idx="8">
                  <c:v>249.96</c:v>
                </c:pt>
                <c:pt idx="9">
                  <c:v>281.29</c:v>
                </c:pt>
                <c:pt idx="10">
                  <c:v>72.25</c:v>
                </c:pt>
                <c:pt idx="11">
                  <c:v>247.96</c:v>
                </c:pt>
                <c:pt idx="12">
                  <c:v>133.0</c:v>
                </c:pt>
                <c:pt idx="13">
                  <c:v>175.6</c:v>
                </c:pt>
                <c:pt idx="14">
                  <c:v>1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94.75</a:t>
                    </a:r>
                  </a:p>
                </c:rich>
              </c:tx>
              <c:dLblPos val="t"/>
              <c:showLegendKey val="0"/>
              <c:showVal val="1"/>
              <c:showCatName val="0"/>
              <c:showSerName val="0"/>
              <c:showPercent val="0"/>
              <c:showBubbleSize val="0"/>
            </c:dLbl>
            <c:dLbl>
              <c:idx val="2"/>
              <c:tx>
                <c:rich>
                  <a:bodyPr/>
                  <a:lstStyle/>
                  <a:p>
                    <a:r>
                      <a:t>285.74</a:t>
                    </a:r>
                  </a:p>
                </c:rich>
              </c:tx>
              <c:dLblPos val="t"/>
              <c:showLegendKey val="0"/>
              <c:showVal val="1"/>
              <c:showCatName val="0"/>
              <c:showSerName val="0"/>
              <c:showPercent val="0"/>
              <c:showBubbleSize val="0"/>
            </c:dLbl>
            <c:dLbl>
              <c:idx val="3"/>
              <c:tx>
                <c:rich>
                  <a:bodyPr/>
                  <a:lstStyle/>
                  <a:p>
                    <a:r>
                      <a:t>270.79</a:t>
                    </a:r>
                  </a:p>
                </c:rich>
              </c:tx>
              <c:dLblPos val="t"/>
              <c:showLegendKey val="0"/>
              <c:showVal val="1"/>
              <c:showCatName val="0"/>
              <c:showSerName val="0"/>
              <c:showPercent val="0"/>
              <c:showBubbleSize val="0"/>
            </c:dLbl>
            <c:dLbl>
              <c:idx val="4"/>
              <c:tx>
                <c:rich>
                  <a:bodyPr/>
                  <a:lstStyle/>
                  <a:p>
                    <a:r>
                      <a:t>307.77</a:t>
                    </a:r>
                  </a:p>
                </c:rich>
              </c:tx>
              <c:dLblPos val="t"/>
              <c:showLegendKey val="0"/>
              <c:showVal val="1"/>
              <c:showCatName val="0"/>
              <c:showSerName val="0"/>
              <c:showPercent val="0"/>
              <c:showBubbleSize val="0"/>
            </c:dLbl>
            <c:dLbl>
              <c:idx val="5"/>
              <c:tx>
                <c:rich>
                  <a:bodyPr/>
                  <a:lstStyle/>
                  <a:p>
                    <a:r>
                      <a:t>271.52</a:t>
                    </a:r>
                  </a:p>
                </c:rich>
              </c:tx>
              <c:dLblPos val="t"/>
              <c:showLegendKey val="0"/>
              <c:showVal val="1"/>
              <c:showCatName val="0"/>
              <c:showSerName val="0"/>
              <c:showPercent val="0"/>
              <c:showBubbleSize val="0"/>
            </c:dLbl>
            <c:dLbl>
              <c:idx val="6"/>
              <c:tx>
                <c:rich>
                  <a:bodyPr/>
                  <a:lstStyle/>
                  <a:p>
                    <a:r>
                      <a:t>264.78</a:t>
                    </a:r>
                  </a:p>
                </c:rich>
              </c:tx>
              <c:dLblPos val="t"/>
              <c:showLegendKey val="0"/>
              <c:showVal val="1"/>
              <c:showCatName val="0"/>
              <c:showSerName val="0"/>
              <c:showPercent val="0"/>
              <c:showBubbleSize val="0"/>
            </c:dLbl>
            <c:dLbl>
              <c:idx val="7"/>
              <c:tx>
                <c:rich>
                  <a:bodyPr/>
                  <a:lstStyle/>
                  <a:p>
                    <a:r>
                      <a:t>104.26</a:t>
                    </a:r>
                  </a:p>
                </c:rich>
              </c:tx>
              <c:dLblPos val="t"/>
              <c:showLegendKey val="0"/>
              <c:showVal val="1"/>
              <c:showCatName val="0"/>
              <c:showSerName val="0"/>
              <c:showPercent val="0"/>
              <c:showBubbleSize val="0"/>
            </c:dLbl>
            <c:dLbl>
              <c:idx val="8"/>
              <c:tx>
                <c:rich>
                  <a:bodyPr/>
                  <a:lstStyle/>
                  <a:p>
                    <a:r>
                      <a:t>308.34</a:t>
                    </a:r>
                  </a:p>
                </c:rich>
              </c:tx>
              <c:dLblPos val="t"/>
              <c:showLegendKey val="0"/>
              <c:showVal val="1"/>
              <c:showCatName val="0"/>
              <c:showSerName val="0"/>
              <c:showPercent val="0"/>
              <c:showBubbleSize val="0"/>
            </c:dLbl>
            <c:dLbl>
              <c:idx val="9"/>
              <c:tx>
                <c:rich>
                  <a:bodyPr/>
                  <a:lstStyle/>
                  <a:p>
                    <a:r>
                      <a:t>185.41</a:t>
                    </a:r>
                  </a:p>
                </c:rich>
              </c:tx>
              <c:dLblPos val="t"/>
              <c:showLegendKey val="0"/>
              <c:showVal val="1"/>
              <c:showCatName val="0"/>
              <c:showSerName val="0"/>
              <c:showPercent val="0"/>
              <c:showBubbleSize val="0"/>
            </c:dLbl>
            <c:dLbl>
              <c:idx val="10"/>
              <c:tx>
                <c:rich>
                  <a:bodyPr/>
                  <a:lstStyle/>
                  <a:p>
                    <a:r>
                      <a:t>308.61</a:t>
                    </a:r>
                  </a:p>
                </c:rich>
              </c:tx>
              <c:dLblPos val="t"/>
              <c:showLegendKey val="0"/>
              <c:showVal val="1"/>
              <c:showCatName val="0"/>
              <c:showSerName val="0"/>
              <c:showPercent val="0"/>
              <c:showBubbleSize val="0"/>
            </c:dLbl>
            <c:dLbl>
              <c:idx val="11"/>
              <c:tx>
                <c:rich>
                  <a:bodyPr/>
                  <a:lstStyle/>
                  <a:p>
                    <a:r>
                      <a:t>275.98</a:t>
                    </a:r>
                  </a:p>
                </c:rich>
              </c:tx>
              <c:dLblPos val="t"/>
              <c:showLegendKey val="0"/>
              <c:showVal val="1"/>
              <c:showCatName val="0"/>
              <c:showSerName val="0"/>
              <c:showPercent val="0"/>
              <c:showBubbleSize val="0"/>
            </c:dLbl>
            <c:dLbl>
              <c:idx val="12"/>
              <c:tx>
                <c:rich>
                  <a:bodyPr/>
                  <a:lstStyle/>
                  <a:p>
                    <a:r>
                      <a:t>309.91</a:t>
                    </a:r>
                  </a:p>
                </c:rich>
              </c:tx>
              <c:dLblPos val="t"/>
              <c:showLegendKey val="0"/>
              <c:showVal val="1"/>
              <c:showCatName val="0"/>
              <c:showSerName val="0"/>
              <c:showPercent val="0"/>
              <c:showBubbleSize val="0"/>
            </c:dLbl>
            <c:dLbl>
              <c:idx val="13"/>
              <c:tx>
                <c:rich>
                  <a:bodyPr/>
                  <a:lstStyle/>
                  <a:p>
                    <a:r>
                      <a:t>281.66</a:t>
                    </a:r>
                  </a:p>
                </c:rich>
              </c:tx>
              <c:dLblPos val="t"/>
              <c:showLegendKey val="0"/>
              <c:showVal val="1"/>
              <c:showCatName val="0"/>
              <c:showSerName val="0"/>
              <c:showPercent val="0"/>
              <c:showBubbleSize val="0"/>
            </c:dLbl>
            <c:dLbl>
              <c:idx val="14"/>
              <c:tx>
                <c:rich>
                  <a:bodyPr/>
                  <a:lstStyle/>
                  <a:p>
                    <a:r>
                      <a:t>293.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Edgewell Banana Boat Aqua Protect Sunscreen Adults Cosmetics Crema 50+ 236Ml</c:v>
                </c:pt>
                <c:pt idx="6">
                  <c:v>Edgewell Banana Boat Banded Pack Banded Pack 2X Sunscreen Multi 50+ 236Ml</c:v>
                </c:pt>
                <c:pt idx="7">
                  <c:v>Edgewell Hawaiian Tropic Ozono Sunscreen Adults Cosmetics Liquido 50+ 90Ml</c:v>
                </c:pt>
                <c:pt idx="8">
                  <c:v>Edgewell Banana Boat Dry Balance Sunscreen Adults Sport Spray Liquido 50 220Ml</c:v>
                </c:pt>
                <c:pt idx="9">
                  <c:v>Edgewell Hawaiian Tropic Sheer Touch Sunscreen Adults Cosmetics Crema 50 120Ml</c:v>
                </c:pt>
                <c:pt idx="10">
                  <c:v>Edgewell Banana Boat Aqua Protect Sunscreen Adults Cosmetics Spray Liquido 50+ 170Ml</c:v>
                </c:pt>
                <c:pt idx="11">
                  <c:v>Edgewell Banana Boat Advanced Protection Sunscreen Adults Cosmetics Liquido 50+ 240Ml</c:v>
                </c:pt>
                <c:pt idx="12">
                  <c:v>Edgewell Hawaiian Tropic Ozono Sunscreen Adults Cosmetics Spray Liquido 50+ 180Ml</c:v>
                </c:pt>
                <c:pt idx="13">
                  <c:v>Edgewell Hawaiian Tropic Sheer Touch Sunscreen Adults Cosmetics Crema 30 - 49 240Ml</c:v>
                </c:pt>
                <c:pt idx="14">
                  <c:v>Edgewell Hawaiian Tropic Silk Hydration Sunscreen Adults Cosmetics Liquido 50 180Ml</c:v>
                </c:pt>
              </c:strCache>
            </c:strRef>
          </c:cat>
          <c:val>
            <c:numRef>
              <c:f>Sheet1!$B$2:$B$16</c:f>
              <c:numCache>
                <c:formatCode>General</c:formatCode>
                <c:ptCount val="15"/>
                <c:pt idx="0">
                  <c:v>285.73</c:v>
                </c:pt>
                <c:pt idx="1">
                  <c:v>294.75</c:v>
                </c:pt>
                <c:pt idx="2">
                  <c:v>285.74</c:v>
                </c:pt>
                <c:pt idx="3">
                  <c:v>270.79</c:v>
                </c:pt>
                <c:pt idx="4">
                  <c:v>307.77</c:v>
                </c:pt>
                <c:pt idx="5">
                  <c:v>271.52</c:v>
                </c:pt>
                <c:pt idx="6">
                  <c:v>264.78</c:v>
                </c:pt>
                <c:pt idx="7">
                  <c:v>104.26</c:v>
                </c:pt>
                <c:pt idx="8">
                  <c:v>308.34</c:v>
                </c:pt>
                <c:pt idx="9">
                  <c:v>185.41</c:v>
                </c:pt>
                <c:pt idx="10">
                  <c:v>308.61</c:v>
                </c:pt>
                <c:pt idx="11">
                  <c:v>275.98</c:v>
                </c:pt>
                <c:pt idx="12">
                  <c:v>309.91</c:v>
                </c:pt>
                <c:pt idx="13">
                  <c:v>281.66</c:v>
                </c:pt>
                <c:pt idx="14">
                  <c:v>293.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59</a:t>
                    </a:r>
                  </a:p>
                </c:rich>
              </c:tx>
              <c:dLblPos val="t"/>
              <c:showLegendKey val="0"/>
              <c:showVal val="1"/>
              <c:showCatName val="0"/>
              <c:showSerName val="0"/>
              <c:showPercent val="0"/>
              <c:showBubbleSize val="0"/>
            </c:dLbl>
            <c:dLbl>
              <c:idx val="1"/>
              <c:tx>
                <c:rich>
                  <a:bodyPr/>
                  <a:lstStyle/>
                  <a:p>
                    <a:r>
                      <a:t>305.15</a:t>
                    </a:r>
                  </a:p>
                </c:rich>
              </c:tx>
              <c:dLblPos val="t"/>
              <c:showLegendKey val="0"/>
              <c:showVal val="1"/>
              <c:showCatName val="0"/>
              <c:showSerName val="0"/>
              <c:showPercent val="0"/>
              <c:showBubbleSize val="0"/>
            </c:dLbl>
            <c:dLbl>
              <c:idx val="2"/>
              <c:tx>
                <c:rich>
                  <a:bodyPr/>
                  <a:lstStyle/>
                  <a:p>
                    <a:r>
                      <a:t>302.86</a:t>
                    </a:r>
                  </a:p>
                </c:rich>
              </c:tx>
              <c:dLblPos val="t"/>
              <c:showLegendKey val="0"/>
              <c:showVal val="1"/>
              <c:showCatName val="0"/>
              <c:showSerName val="0"/>
              <c:showPercent val="0"/>
              <c:showBubbleSize val="0"/>
            </c:dLbl>
            <c:dLbl>
              <c:idx val="3"/>
              <c:tx>
                <c:rich>
                  <a:bodyPr/>
                  <a:lstStyle/>
                  <a:p>
                    <a:r>
                      <a:t>325.25</a:t>
                    </a:r>
                  </a:p>
                </c:rich>
              </c:tx>
              <c:dLblPos val="t"/>
              <c:showLegendKey val="0"/>
              <c:showVal val="1"/>
              <c:showCatName val="0"/>
              <c:showSerName val="0"/>
              <c:showPercent val="0"/>
              <c:showBubbleSize val="0"/>
            </c:dLbl>
            <c:dLbl>
              <c:idx val="4"/>
              <c:tx>
                <c:rich>
                  <a:bodyPr/>
                  <a:lstStyle/>
                  <a:p>
                    <a:r>
                      <a:t>307.23</a:t>
                    </a:r>
                  </a:p>
                </c:rich>
              </c:tx>
              <c:dLblPos val="t"/>
              <c:showLegendKey val="0"/>
              <c:showVal val="1"/>
              <c:showCatName val="0"/>
              <c:showSerName val="0"/>
              <c:showPercent val="0"/>
              <c:showBubbleSize val="0"/>
            </c:dLbl>
            <c:dLbl>
              <c:idx val="5"/>
              <c:tx>
                <c:rich>
                  <a:bodyPr/>
                  <a:lstStyle/>
                  <a:p>
                    <a:r>
                      <a:t>312.26</a:t>
                    </a:r>
                  </a:p>
                </c:rich>
              </c:tx>
              <c:dLblPos val="t"/>
              <c:showLegendKey val="0"/>
              <c:showVal val="1"/>
              <c:showCatName val="0"/>
              <c:showSerName val="0"/>
              <c:showPercent val="0"/>
              <c:showBubbleSize val="0"/>
            </c:dLbl>
            <c:dLbl>
              <c:idx val="6"/>
              <c:tx>
                <c:rich>
                  <a:bodyPr/>
                  <a:lstStyle/>
                  <a:p>
                    <a:r>
                      <a:t>311.89</a:t>
                    </a:r>
                  </a:p>
                </c:rich>
              </c:tx>
              <c:dLblPos val="t"/>
              <c:showLegendKey val="0"/>
              <c:showVal val="1"/>
              <c:showCatName val="0"/>
              <c:showSerName val="0"/>
              <c:showPercent val="0"/>
              <c:showBubbleSize val="0"/>
            </c:dLbl>
            <c:dLbl>
              <c:idx val="7"/>
              <c:tx>
                <c:rich>
                  <a:bodyPr/>
                  <a:lstStyle/>
                  <a:p>
                    <a:r>
                      <a:t>302.7</a:t>
                    </a:r>
                  </a:p>
                </c:rich>
              </c:tx>
              <c:dLblPos val="t"/>
              <c:showLegendKey val="0"/>
              <c:showVal val="1"/>
              <c:showCatName val="0"/>
              <c:showSerName val="0"/>
              <c:showPercent val="0"/>
              <c:showBubbleSize val="0"/>
            </c:dLbl>
            <c:dLbl>
              <c:idx val="8"/>
              <c:tx>
                <c:rich>
                  <a:bodyPr/>
                  <a:lstStyle/>
                  <a:p>
                    <a:r>
                      <a:t>296.61</a:t>
                    </a:r>
                  </a:p>
                </c:rich>
              </c:tx>
              <c:dLblPos val="t"/>
              <c:showLegendKey val="0"/>
              <c:showVal val="1"/>
              <c:showCatName val="0"/>
              <c:showSerName val="0"/>
              <c:showPercent val="0"/>
              <c:showBubbleSize val="0"/>
            </c:dLbl>
            <c:dLbl>
              <c:idx val="9"/>
              <c:tx>
                <c:rich>
                  <a:bodyPr/>
                  <a:lstStyle/>
                  <a:p>
                    <a:r>
                      <a:t>283.81</a:t>
                    </a:r>
                  </a:p>
                </c:rich>
              </c:tx>
              <c:dLblPos val="t"/>
              <c:showLegendKey val="0"/>
              <c:showVal val="1"/>
              <c:showCatName val="0"/>
              <c:showSerName val="0"/>
              <c:showPercent val="0"/>
              <c:showBubbleSize val="0"/>
            </c:dLbl>
            <c:dLbl>
              <c:idx val="10"/>
              <c:tx>
                <c:rich>
                  <a:bodyPr/>
                  <a:lstStyle/>
                  <a:p>
                    <a:r>
                      <a:t>188.44</a:t>
                    </a:r>
                  </a:p>
                </c:rich>
              </c:tx>
              <c:dLblPos val="t"/>
              <c:showLegendKey val="0"/>
              <c:showVal val="1"/>
              <c:showCatName val="0"/>
              <c:showSerName val="0"/>
              <c:showPercent val="0"/>
              <c:showBubbleSize val="0"/>
            </c:dLbl>
            <c:dLbl>
              <c:idx val="11"/>
              <c:tx>
                <c:rich>
                  <a:bodyPr/>
                  <a:lstStyle/>
                  <a:p>
                    <a:r>
                      <a:t>326.36</a:t>
                    </a:r>
                  </a:p>
                </c:rich>
              </c:tx>
              <c:dLblPos val="t"/>
              <c:showLegendKey val="0"/>
              <c:showVal val="1"/>
              <c:showCatName val="0"/>
              <c:showSerName val="0"/>
              <c:showPercent val="0"/>
              <c:showBubbleSize val="0"/>
            </c:dLbl>
            <c:dLbl>
              <c:idx val="12"/>
              <c:tx>
                <c:rich>
                  <a:bodyPr/>
                  <a:lstStyle/>
                  <a:p>
                    <a:r>
                      <a:t>258.77</a:t>
                    </a:r>
                  </a:p>
                </c:rich>
              </c:tx>
              <c:dLblPos val="t"/>
              <c:showLegendKey val="0"/>
              <c:showVal val="1"/>
              <c:showCatName val="0"/>
              <c:showSerName val="0"/>
              <c:showPercent val="0"/>
              <c:showBubbleSize val="0"/>
            </c:dLbl>
            <c:dLbl>
              <c:idx val="13"/>
              <c:tx>
                <c:rich>
                  <a:bodyPr/>
                  <a:lstStyle/>
                  <a:p>
                    <a:r>
                      <a:t>148.93</a:t>
                    </a:r>
                  </a:p>
                </c:rich>
              </c:tx>
              <c:dLblPos val="t"/>
              <c:showLegendKey val="0"/>
              <c:showVal val="1"/>
              <c:showCatName val="0"/>
              <c:showSerName val="0"/>
              <c:showPercent val="0"/>
              <c:showBubbleSize val="0"/>
            </c:dLbl>
            <c:dLbl>
              <c:idx val="14"/>
              <c:tx>
                <c:rich>
                  <a:bodyPr/>
                  <a:lstStyle/>
                  <a:p>
                    <a:r>
                      <a:t>283.8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Dry Balance Sunscreen Adults Sport Spray Liquido 50 220Ml</c:v>
                </c:pt>
                <c:pt idx="3">
                  <c:v>Edgewell Hawaiian Tropic Island Sport Sunscreen Adults Sport Spray Liquido 50 220Ml</c:v>
                </c:pt>
                <c:pt idx="4">
                  <c:v>Edgewell Banana Boat Advanced Protection Sunscreen Adults Cosmetics Liquido 50+ 240Ml</c:v>
                </c:pt>
                <c:pt idx="5">
                  <c:v>Edgewell Banana Boat Aqua Protect Sunscreen Adults Cosmetics Spray Liquido 50+ 170Ml</c:v>
                </c:pt>
                <c:pt idx="6">
                  <c:v>Edgewell Hawaiian Tropic Ozono Sunscreen Adults Cosmetics Spray Liquido 50+ 180Ml</c:v>
                </c:pt>
                <c:pt idx="7">
                  <c:v>Edgewell Hawaiian Tropic Other Sunscreen Adults Cosmetics Crema 50+ 240Ml</c:v>
                </c:pt>
                <c:pt idx="8">
                  <c:v>Edgewell Banana Boat Aqua Protect Sunscreen Adults Sport Crema 50+ 236Ml</c:v>
                </c:pt>
                <c:pt idx="9">
                  <c:v>Edgewell Banana Boat Aqua Protect Sunscreen Adults Cosmetics Crema 50+ 236Ml</c:v>
                </c:pt>
                <c:pt idx="10">
                  <c:v>Edgewell Hawaiian Tropic Sheer Touch Sunscreen Adults Cosmetics Crema 50 120Ml</c:v>
                </c:pt>
                <c:pt idx="11">
                  <c:v>Edgewell Banana Boat Banded Pack Banded Pack 2X Sunscreen Multi 50+ 170Ml</c:v>
                </c:pt>
                <c:pt idx="12">
                  <c:v>Edgewell Banana Boat Banded Pack Banded Pack 2X Sunscreen Multi 50+ 236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1.59</c:v>
                </c:pt>
                <c:pt idx="1">
                  <c:v>305.15</c:v>
                </c:pt>
                <c:pt idx="2">
                  <c:v>302.86</c:v>
                </c:pt>
                <c:pt idx="3">
                  <c:v>325.25</c:v>
                </c:pt>
                <c:pt idx="4">
                  <c:v>307.23</c:v>
                </c:pt>
                <c:pt idx="5">
                  <c:v>312.26</c:v>
                </c:pt>
                <c:pt idx="6">
                  <c:v>311.89</c:v>
                </c:pt>
                <c:pt idx="7">
                  <c:v>302.7</c:v>
                </c:pt>
                <c:pt idx="8">
                  <c:v>296.61</c:v>
                </c:pt>
                <c:pt idx="9">
                  <c:v>283.81</c:v>
                </c:pt>
                <c:pt idx="10">
                  <c:v>188.44</c:v>
                </c:pt>
                <c:pt idx="11">
                  <c:v>326.36</c:v>
                </c:pt>
                <c:pt idx="12">
                  <c:v>258.77</c:v>
                </c:pt>
                <c:pt idx="13">
                  <c:v>148.93</c:v>
                </c:pt>
                <c:pt idx="14">
                  <c:v>283.8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3.99</a:t>
                    </a:r>
                  </a:p>
                </c:rich>
              </c:tx>
              <c:dLblPos val="t"/>
              <c:showLegendKey val="0"/>
              <c:showVal val="1"/>
              <c:showCatName val="0"/>
              <c:showSerName val="0"/>
              <c:showPercent val="0"/>
              <c:showBubbleSize val="0"/>
            </c:dLbl>
            <c:dLbl>
              <c:idx val="1"/>
              <c:tx>
                <c:rich>
                  <a:bodyPr/>
                  <a:lstStyle/>
                  <a:p>
                    <a:r>
                      <a:t>338.04</a:t>
                    </a:r>
                  </a:p>
                </c:rich>
              </c:tx>
              <c:dLblPos val="t"/>
              <c:showLegendKey val="0"/>
              <c:showVal val="1"/>
              <c:showCatName val="0"/>
              <c:showSerName val="0"/>
              <c:showPercent val="0"/>
              <c:showBubbleSize val="0"/>
            </c:dLbl>
            <c:dLbl>
              <c:idx val="2"/>
              <c:tx>
                <c:rich>
                  <a:bodyPr/>
                  <a:lstStyle/>
                  <a:p>
                    <a:r>
                      <a:t>290.72</a:t>
                    </a:r>
                  </a:p>
                </c:rich>
              </c:tx>
              <c:dLblPos val="t"/>
              <c:showLegendKey val="0"/>
              <c:showVal val="1"/>
              <c:showCatName val="0"/>
              <c:showSerName val="0"/>
              <c:showPercent val="0"/>
              <c:showBubbleSize val="0"/>
            </c:dLbl>
            <c:dLbl>
              <c:idx val="3"/>
              <c:tx>
                <c:rich>
                  <a:bodyPr/>
                  <a:lstStyle/>
                  <a:p>
                    <a:r>
                      <a:t>316.05</a:t>
                    </a:r>
                  </a:p>
                </c:rich>
              </c:tx>
              <c:dLblPos val="t"/>
              <c:showLegendKey val="0"/>
              <c:showVal val="1"/>
              <c:showCatName val="0"/>
              <c:showSerName val="0"/>
              <c:showPercent val="0"/>
              <c:showBubbleSize val="0"/>
            </c:dLbl>
            <c:dLbl>
              <c:idx val="4"/>
              <c:tx>
                <c:rich>
                  <a:bodyPr/>
                  <a:lstStyle/>
                  <a:p>
                    <a:r>
                      <a:t>310.2</a:t>
                    </a:r>
                  </a:p>
                </c:rich>
              </c:tx>
              <c:dLblPos val="t"/>
              <c:showLegendKey val="0"/>
              <c:showVal val="1"/>
              <c:showCatName val="0"/>
              <c:showSerName val="0"/>
              <c:showPercent val="0"/>
              <c:showBubbleSize val="0"/>
            </c:dLbl>
            <c:dLbl>
              <c:idx val="5"/>
              <c:tx>
                <c:rich>
                  <a:bodyPr/>
                  <a:lstStyle/>
                  <a:p>
                    <a:r>
                      <a:t>317.39</a:t>
                    </a:r>
                  </a:p>
                </c:rich>
              </c:tx>
              <c:dLblPos val="t"/>
              <c:showLegendKey val="0"/>
              <c:showVal val="1"/>
              <c:showCatName val="0"/>
              <c:showSerName val="0"/>
              <c:showPercent val="0"/>
              <c:showBubbleSize val="0"/>
            </c:dLbl>
            <c:dLbl>
              <c:idx val="6"/>
              <c:tx>
                <c:rich>
                  <a:bodyPr/>
                  <a:lstStyle/>
                  <a:p>
                    <a:r>
                      <a:t>269.13</a:t>
                    </a:r>
                  </a:p>
                </c:rich>
              </c:tx>
              <c:dLblPos val="t"/>
              <c:showLegendKey val="0"/>
              <c:showVal val="1"/>
              <c:showCatName val="0"/>
              <c:showSerName val="0"/>
              <c:showPercent val="0"/>
              <c:showBubbleSize val="0"/>
            </c:dLbl>
            <c:dLbl>
              <c:idx val="7"/>
              <c:tx>
                <c:rich>
                  <a:bodyPr/>
                  <a:lstStyle/>
                  <a:p>
                    <a:r>
                      <a:t>88.43</a:t>
                    </a:r>
                  </a:p>
                </c:rich>
              </c:tx>
              <c:dLblPos val="t"/>
              <c:showLegendKey val="0"/>
              <c:showVal val="1"/>
              <c:showCatName val="0"/>
              <c:showSerName val="0"/>
              <c:showPercent val="0"/>
              <c:showBubbleSize val="0"/>
            </c:dLbl>
            <c:dLbl>
              <c:idx val="8"/>
              <c:tx>
                <c:rich>
                  <a:bodyPr/>
                  <a:lstStyle/>
                  <a:p>
                    <a:r>
                      <a:t>337.05</a:t>
                    </a:r>
                  </a:p>
                </c:rich>
              </c:tx>
              <c:dLblPos val="t"/>
              <c:showLegendKey val="0"/>
              <c:showVal val="1"/>
              <c:showCatName val="0"/>
              <c:showSerName val="0"/>
              <c:showPercent val="0"/>
              <c:showBubbleSize val="0"/>
            </c:dLbl>
            <c:dLbl>
              <c:idx val="9"/>
              <c:tx>
                <c:rich>
                  <a:bodyPr/>
                  <a:lstStyle/>
                  <a:p>
                    <a:r>
                      <a:t>330.28</a:t>
                    </a:r>
                  </a:p>
                </c:rich>
              </c:tx>
              <c:dLblPos val="t"/>
              <c:showLegendKey val="0"/>
              <c:showVal val="1"/>
              <c:showCatName val="0"/>
              <c:showSerName val="0"/>
              <c:showPercent val="0"/>
              <c:showBubbleSize val="0"/>
            </c:dLbl>
            <c:dLbl>
              <c:idx val="10"/>
              <c:tx>
                <c:rich>
                  <a:bodyPr/>
                  <a:lstStyle/>
                  <a:p>
                    <a:r>
                      <a:t>333.98</a:t>
                    </a:r>
                  </a:p>
                </c:rich>
              </c:tx>
              <c:dLblPos val="t"/>
              <c:showLegendKey val="0"/>
              <c:showVal val="1"/>
              <c:showCatName val="0"/>
              <c:showSerName val="0"/>
              <c:showPercent val="0"/>
              <c:showBubbleSize val="0"/>
            </c:dLbl>
            <c:dLbl>
              <c:idx val="11"/>
              <c:tx>
                <c:rich>
                  <a:bodyPr/>
                  <a:lstStyle/>
                  <a:p>
                    <a:r>
                      <a:t>311.72</a:t>
                    </a:r>
                  </a:p>
                </c:rich>
              </c:tx>
              <c:dLblPos val="t"/>
              <c:showLegendKey val="0"/>
              <c:showVal val="1"/>
              <c:showCatName val="0"/>
              <c:showSerName val="0"/>
              <c:showPercent val="0"/>
              <c:showBubbleSize val="0"/>
            </c:dLbl>
            <c:dLbl>
              <c:idx val="12"/>
              <c:tx>
                <c:rich>
                  <a:bodyPr/>
                  <a:lstStyle/>
                  <a:p>
                    <a:r>
                      <a:t>254.68</a:t>
                    </a:r>
                  </a:p>
                </c:rich>
              </c:tx>
              <c:dLblPos val="t"/>
              <c:showLegendKey val="0"/>
              <c:showVal val="1"/>
              <c:showCatName val="0"/>
              <c:showSerName val="0"/>
              <c:showPercent val="0"/>
              <c:showBubbleSize val="0"/>
            </c:dLbl>
            <c:dLbl>
              <c:idx val="13"/>
              <c:tx>
                <c:rich>
                  <a:bodyPr/>
                  <a:lstStyle/>
                  <a:p>
                    <a:r>
                      <a:t>276.37</a:t>
                    </a:r>
                  </a:p>
                </c:rich>
              </c:tx>
              <c:dLblPos val="t"/>
              <c:showLegendKey val="0"/>
              <c:showVal val="1"/>
              <c:showCatName val="0"/>
              <c:showSerName val="0"/>
              <c:showPercent val="0"/>
              <c:showBubbleSize val="0"/>
            </c:dLbl>
            <c:dLbl>
              <c:idx val="14"/>
              <c:tx>
                <c:rich>
                  <a:bodyPr/>
                  <a:lstStyle/>
                  <a:p>
                    <a:r>
                      <a:t>149.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Banded Pack Banded Pack 2X Sunscreen Multi 50+ 170Ml</c:v>
                </c:pt>
                <c:pt idx="2">
                  <c:v>Edgewell Banana Boat Aqua Protect Sunscreen Adults Cosmetics Crema 50+ 236Ml</c:v>
                </c:pt>
                <c:pt idx="3">
                  <c:v>Edgewell Banana Boat Dry Balance Sunscreen Adults Sport Spray Liquido 50 220Ml</c:v>
                </c:pt>
                <c:pt idx="4">
                  <c:v>Edgewell Banana Boat Advanced Protection Sunscreen Adults Cosmetics Liquido 50+ 240Ml</c:v>
                </c:pt>
                <c:pt idx="5">
                  <c:v>Edgewell Banana Boat Aqua Protect Sunscreen Adults Cosmetics Spray Liquido 50+ 170Ml</c:v>
                </c:pt>
                <c:pt idx="6">
                  <c:v>Edgewell Banana Boat Banded Pack Banded Pack 2X Sunscreen Multi 50+ 236Ml</c:v>
                </c:pt>
                <c:pt idx="7">
                  <c:v>Edgewell Banana Boat Advanced Protection Sunscreen Adults Cosmetics Liquido 50+ 60Ml</c:v>
                </c:pt>
                <c:pt idx="8">
                  <c:v>Edgewell Banana Boat Mineral Sunscreen Kids Cosmetics Locion 50 180Ml</c:v>
                </c:pt>
                <c:pt idx="9">
                  <c:v>Edgewell Banana Boat Mineral Sunscreen Adults Cosmetics Locion 50 180Ml</c:v>
                </c:pt>
                <c:pt idx="10">
                  <c:v>Edgewell Banana Boat Mineral Sunscreen Adults Sport Locion 50 180Ml</c:v>
                </c:pt>
                <c:pt idx="11">
                  <c:v>Edgewell Banana Boat Dry Balance Sunscreen Adults Sport Crema 50+ 180Ml</c:v>
                </c:pt>
                <c:pt idx="12">
                  <c:v>Edgewell Banana Boat Advanced Protection Sunscreen Adults Cosmetics Liquido 50 180Ml</c:v>
                </c:pt>
                <c:pt idx="13">
                  <c:v>Edgewell Banana Boat Kids Sport Sunscreen Kids Cosmetics Crema 50 180Ml</c:v>
                </c:pt>
                <c:pt idx="14">
                  <c:v>Edgewell Banana Boat After Sun After Sun Adults Cosmetics Gel 0 - 5 230Ml</c:v>
                </c:pt>
              </c:strCache>
            </c:strRef>
          </c:cat>
          <c:val>
            <c:numRef>
              <c:f>Sheet1!$B$2:$B$16</c:f>
              <c:numCache>
                <c:formatCode>General</c:formatCode>
                <c:ptCount val="15"/>
                <c:pt idx="0">
                  <c:v>303.99</c:v>
                </c:pt>
                <c:pt idx="1">
                  <c:v>338.04</c:v>
                </c:pt>
                <c:pt idx="2">
                  <c:v>290.72</c:v>
                </c:pt>
                <c:pt idx="3">
                  <c:v>316.05</c:v>
                </c:pt>
                <c:pt idx="4">
                  <c:v>310.2</c:v>
                </c:pt>
                <c:pt idx="5">
                  <c:v>317.39</c:v>
                </c:pt>
                <c:pt idx="6">
                  <c:v>269.13</c:v>
                </c:pt>
                <c:pt idx="7">
                  <c:v>88.43</c:v>
                </c:pt>
                <c:pt idx="8">
                  <c:v>337.05</c:v>
                </c:pt>
                <c:pt idx="9">
                  <c:v>330.28</c:v>
                </c:pt>
                <c:pt idx="10">
                  <c:v>333.98</c:v>
                </c:pt>
                <c:pt idx="11">
                  <c:v>311.72</c:v>
                </c:pt>
                <c:pt idx="12">
                  <c:v>254.68</c:v>
                </c:pt>
                <c:pt idx="13">
                  <c:v>276.37</c:v>
                </c:pt>
                <c:pt idx="14">
                  <c:v>149.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6.84</a:t>
                    </a:r>
                  </a:p>
                </c:rich>
              </c:tx>
              <c:dLblPos val="t"/>
              <c:showLegendKey val="0"/>
              <c:showVal val="1"/>
              <c:showCatName val="0"/>
              <c:showSerName val="0"/>
              <c:showPercent val="0"/>
              <c:showBubbleSize val="0"/>
            </c:dLbl>
            <c:dLbl>
              <c:idx val="1"/>
              <c:tx>
                <c:rich>
                  <a:bodyPr/>
                  <a:lstStyle/>
                  <a:p>
                    <a:r>
                      <a:t>308.69</a:t>
                    </a:r>
                  </a:p>
                </c:rich>
              </c:tx>
              <c:dLblPos val="t"/>
              <c:showLegendKey val="0"/>
              <c:showVal val="1"/>
              <c:showCatName val="0"/>
              <c:showSerName val="0"/>
              <c:showPercent val="0"/>
              <c:showBubbleSize val="0"/>
            </c:dLbl>
            <c:dLbl>
              <c:idx val="2"/>
              <c:tx>
                <c:rich>
                  <a:bodyPr/>
                  <a:lstStyle/>
                  <a:p>
                    <a:r>
                      <a:t>316.05</a:t>
                    </a:r>
                  </a:p>
                </c:rich>
              </c:tx>
              <c:dLblPos val="t"/>
              <c:showLegendKey val="0"/>
              <c:showVal val="1"/>
              <c:showCatName val="0"/>
              <c:showSerName val="0"/>
              <c:showPercent val="0"/>
              <c:showBubbleSize val="0"/>
            </c:dLbl>
            <c:dLbl>
              <c:idx val="3"/>
              <c:tx>
                <c:rich>
                  <a:bodyPr/>
                  <a:lstStyle/>
                  <a:p>
                    <a:r>
                      <a:t>334.03</a:t>
                    </a:r>
                  </a:p>
                </c:rich>
              </c:tx>
              <c:dLblPos val="t"/>
              <c:showLegendKey val="0"/>
              <c:showVal val="1"/>
              <c:showCatName val="0"/>
              <c:showSerName val="0"/>
              <c:showPercent val="0"/>
              <c:showBubbleSize val="0"/>
            </c:dLbl>
            <c:dLbl>
              <c:idx val="4"/>
              <c:tx>
                <c:rich>
                  <a:bodyPr/>
                  <a:lstStyle/>
                  <a:p>
                    <a:r>
                      <a:t>310.2</a:t>
                    </a:r>
                  </a:p>
                </c:rich>
              </c:tx>
              <c:dLblPos val="t"/>
              <c:showLegendKey val="0"/>
              <c:showVal val="1"/>
              <c:showCatName val="0"/>
              <c:showSerName val="0"/>
              <c:showPercent val="0"/>
              <c:showBubbleSize val="0"/>
            </c:dLbl>
            <c:dLbl>
              <c:idx val="5"/>
              <c:tx>
                <c:rich>
                  <a:bodyPr/>
                  <a:lstStyle/>
                  <a:p>
                    <a:r>
                      <a:t>317.39</a:t>
                    </a:r>
                  </a:p>
                </c:rich>
              </c:tx>
              <c:dLblPos val="t"/>
              <c:showLegendKey val="0"/>
              <c:showVal val="1"/>
              <c:showCatName val="0"/>
              <c:showSerName val="0"/>
              <c:showPercent val="0"/>
              <c:showBubbleSize val="0"/>
            </c:dLbl>
            <c:dLbl>
              <c:idx val="6"/>
              <c:tx>
                <c:rich>
                  <a:bodyPr/>
                  <a:lstStyle/>
                  <a:p>
                    <a:r>
                      <a:t>327.07</a:t>
                    </a:r>
                  </a:p>
                </c:rich>
              </c:tx>
              <c:dLblPos val="t"/>
              <c:showLegendKey val="0"/>
              <c:showVal val="1"/>
              <c:showCatName val="0"/>
              <c:showSerName val="0"/>
              <c:showPercent val="0"/>
              <c:showBubbleSize val="0"/>
            </c:dLbl>
            <c:dLbl>
              <c:idx val="7"/>
              <c:tx>
                <c:rich>
                  <a:bodyPr/>
                  <a:lstStyle/>
                  <a:p>
                    <a:r>
                      <a:t>305.74</a:t>
                    </a:r>
                  </a:p>
                </c:rich>
              </c:tx>
              <c:dLblPos val="t"/>
              <c:showLegendKey val="0"/>
              <c:showVal val="1"/>
              <c:showCatName val="0"/>
              <c:showSerName val="0"/>
              <c:showPercent val="0"/>
              <c:showBubbleSize val="0"/>
            </c:dLbl>
            <c:dLbl>
              <c:idx val="8"/>
              <c:tx>
                <c:rich>
                  <a:bodyPr/>
                  <a:lstStyle/>
                  <a:p>
                    <a:r>
                      <a:t>303.99</a:t>
                    </a:r>
                  </a:p>
                </c:rich>
              </c:tx>
              <c:dLblPos val="t"/>
              <c:showLegendKey val="0"/>
              <c:showVal val="1"/>
              <c:showCatName val="0"/>
              <c:showSerName val="0"/>
              <c:showPercent val="0"/>
              <c:showBubbleSize val="0"/>
            </c:dLbl>
            <c:dLbl>
              <c:idx val="9"/>
              <c:tx>
                <c:rich>
                  <a:bodyPr/>
                  <a:lstStyle/>
                  <a:p>
                    <a:r>
                      <a:t>290.72</a:t>
                    </a:r>
                  </a:p>
                </c:rich>
              </c:tx>
              <c:dLblPos val="t"/>
              <c:showLegendKey val="0"/>
              <c:showVal val="1"/>
              <c:showCatName val="0"/>
              <c:showSerName val="0"/>
              <c:showPercent val="0"/>
              <c:showBubbleSize val="0"/>
            </c:dLbl>
            <c:dLbl>
              <c:idx val="10"/>
              <c:tx>
                <c:rich>
                  <a:bodyPr/>
                  <a:lstStyle/>
                  <a:p>
                    <a:r>
                      <a:t>189.32</a:t>
                    </a:r>
                  </a:p>
                </c:rich>
              </c:tx>
              <c:dLblPos val="t"/>
              <c:showLegendKey val="0"/>
              <c:showVal val="1"/>
              <c:showCatName val="0"/>
              <c:showSerName val="0"/>
              <c:showPercent val="0"/>
              <c:showBubbleSize val="0"/>
            </c:dLbl>
            <c:dLbl>
              <c:idx val="11"/>
              <c:tx>
                <c:rich>
                  <a:bodyPr/>
                  <a:lstStyle/>
                  <a:p>
                    <a:r>
                      <a:t>338.04</a:t>
                    </a:r>
                  </a:p>
                </c:rich>
              </c:tx>
              <c:dLblPos val="t"/>
              <c:showLegendKey val="0"/>
              <c:showVal val="1"/>
              <c:showCatName val="0"/>
              <c:showSerName val="0"/>
              <c:showPercent val="0"/>
              <c:showBubbleSize val="0"/>
            </c:dLbl>
            <c:dLbl>
              <c:idx val="12"/>
              <c:tx>
                <c:rich>
                  <a:bodyPr/>
                  <a:lstStyle/>
                  <a:p>
                    <a:r>
                      <a:t>269.13</a:t>
                    </a:r>
                  </a:p>
                </c:rich>
              </c:tx>
              <c:dLblPos val="t"/>
              <c:showLegendKey val="0"/>
              <c:showVal val="1"/>
              <c:showCatName val="0"/>
              <c:showSerName val="0"/>
              <c:showPercent val="0"/>
              <c:showBubbleSize val="0"/>
            </c:dLbl>
            <c:dLbl>
              <c:idx val="13"/>
              <c:tx>
                <c:rich>
                  <a:bodyPr/>
                  <a:lstStyle/>
                  <a:p>
                    <a:r>
                      <a:t>149.69</a:t>
                    </a:r>
                  </a:p>
                </c:rich>
              </c:tx>
              <c:dLblPos val="t"/>
              <c:showLegendKey val="0"/>
              <c:showVal val="1"/>
              <c:showCatName val="0"/>
              <c:showSerName val="0"/>
              <c:showPercent val="0"/>
              <c:showBubbleSize val="0"/>
            </c:dLbl>
            <c:dLbl>
              <c:idx val="14"/>
              <c:tx>
                <c:rich>
                  <a:bodyPr/>
                  <a:lstStyle/>
                  <a:p>
                    <a:r>
                      <a:t>287.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Dry Balance Sunscreen Adults Sport Spray Liquido 50 220Ml</c:v>
                </c:pt>
                <c:pt idx="3">
                  <c:v>Edgewell Hawaiian Tropic Island Sport Sunscreen Adults Sport Spray Liquido 50 220Ml</c:v>
                </c:pt>
                <c:pt idx="4">
                  <c:v>Edgewell Banana Boat Advanced Protection Sunscreen Adults Cosmetics Liquido 50+ 240Ml</c:v>
                </c:pt>
                <c:pt idx="5">
                  <c:v>Edgewell Banana Boat Aqua Protect Sunscreen Adults Cosmetics Spray Liquido 50+ 170Ml</c:v>
                </c:pt>
                <c:pt idx="6">
                  <c:v>Edgewell Hawaiian Tropic Ozono Sunscreen Adults Cosmetics Spray Liquido 50+ 180Ml</c:v>
                </c:pt>
                <c:pt idx="7">
                  <c:v>Edgewell Hawaiian Tropic Other Sunscreen Adults Cosmetics Crema 50+ 240Ml</c:v>
                </c:pt>
                <c:pt idx="8">
                  <c:v>Edgewell Banana Boat Aqua Protect Sunscreen Adults Sport Crema 50+ 236Ml</c:v>
                </c:pt>
                <c:pt idx="9">
                  <c:v>Edgewell Banana Boat Aqua Protect Sunscreen Adults Cosmetics Crema 50+ 236Ml</c:v>
                </c:pt>
                <c:pt idx="10">
                  <c:v>Edgewell Hawaiian Tropic Sheer Touch Sunscreen Adults Cosmetics Crema 50 120Ml</c:v>
                </c:pt>
                <c:pt idx="11">
                  <c:v>Edgewell Banana Boat Banded Pack Banded Pack 2X Sunscreen Multi 50+ 170Ml</c:v>
                </c:pt>
                <c:pt idx="12">
                  <c:v>Edgewell Banana Boat Banded Pack Banded Pack 2X Sunscreen Multi 50+ 236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6.84</c:v>
                </c:pt>
                <c:pt idx="1">
                  <c:v>308.69</c:v>
                </c:pt>
                <c:pt idx="2">
                  <c:v>316.05</c:v>
                </c:pt>
                <c:pt idx="3">
                  <c:v>334.03</c:v>
                </c:pt>
                <c:pt idx="4">
                  <c:v>310.2</c:v>
                </c:pt>
                <c:pt idx="5">
                  <c:v>317.39</c:v>
                </c:pt>
                <c:pt idx="6">
                  <c:v>327.07</c:v>
                </c:pt>
                <c:pt idx="7">
                  <c:v>305.74</c:v>
                </c:pt>
                <c:pt idx="8">
                  <c:v>303.99</c:v>
                </c:pt>
                <c:pt idx="9">
                  <c:v>290.72</c:v>
                </c:pt>
                <c:pt idx="10">
                  <c:v>189.32</c:v>
                </c:pt>
                <c:pt idx="11">
                  <c:v>338.04</c:v>
                </c:pt>
                <c:pt idx="12">
                  <c:v>269.13</c:v>
                </c:pt>
                <c:pt idx="13">
                  <c:v>149.69</c:v>
                </c:pt>
                <c:pt idx="14">
                  <c:v>287.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8.53</a:t>
                    </a:r>
                  </a:p>
                </c:rich>
              </c:tx>
              <c:dLblPos val="t"/>
              <c:showLegendKey val="0"/>
              <c:showVal val="1"/>
              <c:showCatName val="0"/>
              <c:showSerName val="0"/>
              <c:showPercent val="0"/>
              <c:showBubbleSize val="0"/>
            </c:dLbl>
            <c:dLbl>
              <c:idx val="1"/>
              <c:tx>
                <c:rich>
                  <a:bodyPr/>
                  <a:lstStyle/>
                  <a:p>
                    <a:r>
                      <a:t>347.12</a:t>
                    </a:r>
                  </a:p>
                </c:rich>
              </c:tx>
              <c:dLblPos val="t"/>
              <c:showLegendKey val="0"/>
              <c:showVal val="1"/>
              <c:showCatName val="0"/>
              <c:showSerName val="0"/>
              <c:showPercent val="0"/>
              <c:showBubbleSize val="0"/>
            </c:dLbl>
            <c:dLbl>
              <c:idx val="2"/>
              <c:tx>
                <c:rich>
                  <a:bodyPr/>
                  <a:lstStyle/>
                  <a:p>
                    <a:r>
                      <a:t>330.0</a:t>
                    </a:r>
                  </a:p>
                </c:rich>
              </c:tx>
              <c:dLblPos val="t"/>
              <c:showLegendKey val="0"/>
              <c:showVal val="1"/>
              <c:showCatName val="0"/>
              <c:showSerName val="0"/>
              <c:showPercent val="0"/>
              <c:showBubbleSize val="0"/>
            </c:dLbl>
            <c:dLbl>
              <c:idx val="3"/>
              <c:tx>
                <c:rich>
                  <a:bodyPr/>
                  <a:lstStyle/>
                  <a:p>
                    <a:r>
                      <a:t>339.09</a:t>
                    </a:r>
                  </a:p>
                </c:rich>
              </c:tx>
              <c:dLblPos val="t"/>
              <c:showLegendKey val="0"/>
              <c:showVal val="1"/>
              <c:showCatName val="0"/>
              <c:showSerName val="0"/>
              <c:showPercent val="0"/>
              <c:showBubbleSize val="0"/>
            </c:dLbl>
            <c:dLbl>
              <c:idx val="4"/>
              <c:tx>
                <c:rich>
                  <a:bodyPr/>
                  <a:lstStyle/>
                  <a:p>
                    <a:r>
                      <a:t>330.54</a:t>
                    </a:r>
                  </a:p>
                </c:rich>
              </c:tx>
              <c:dLblPos val="t"/>
              <c:showLegendKey val="0"/>
              <c:showVal val="1"/>
              <c:showCatName val="0"/>
              <c:showSerName val="0"/>
              <c:showPercent val="0"/>
              <c:showBubbleSize val="0"/>
            </c:dLbl>
            <c:dLbl>
              <c:idx val="5"/>
              <c:tx>
                <c:rich>
                  <a:bodyPr/>
                  <a:lstStyle/>
                  <a:p>
                    <a:r>
                      <a:t>329.19</a:t>
                    </a:r>
                  </a:p>
                </c:rich>
              </c:tx>
              <c:dLblPos val="t"/>
              <c:showLegendKey val="0"/>
              <c:showVal val="1"/>
              <c:showCatName val="0"/>
              <c:showSerName val="0"/>
              <c:showPercent val="0"/>
              <c:showBubbleSize val="0"/>
            </c:dLbl>
            <c:dLbl>
              <c:idx val="6"/>
              <c:tx>
                <c:rich>
                  <a:bodyPr/>
                  <a:lstStyle/>
                  <a:p>
                    <a:r>
                      <a:t>91.75</a:t>
                    </a:r>
                  </a:p>
                </c:rich>
              </c:tx>
              <c:dLblPos val="t"/>
              <c:showLegendKey val="0"/>
              <c:showVal val="1"/>
              <c:showCatName val="0"/>
              <c:showSerName val="0"/>
              <c:showPercent val="0"/>
              <c:showBubbleSize val="0"/>
            </c:dLbl>
            <c:dLbl>
              <c:idx val="7"/>
              <c:tx>
                <c:rich>
                  <a:bodyPr/>
                  <a:lstStyle/>
                  <a:p>
                    <a:r>
                      <a:t>325.31</a:t>
                    </a:r>
                  </a:p>
                </c:rich>
              </c:tx>
              <c:dLblPos val="t"/>
              <c:showLegendKey val="0"/>
              <c:showVal val="1"/>
              <c:showCatName val="0"/>
              <c:showSerName val="0"/>
              <c:showPercent val="0"/>
              <c:showBubbleSize val="0"/>
            </c:dLbl>
            <c:dLbl>
              <c:idx val="8"/>
              <c:tx>
                <c:rich>
                  <a:bodyPr/>
                  <a:lstStyle/>
                  <a:p>
                    <a:r>
                      <a:t>305.32</a:t>
                    </a:r>
                  </a:p>
                </c:rich>
              </c:tx>
              <c:dLblPos val="t"/>
              <c:showLegendKey val="0"/>
              <c:showVal val="1"/>
              <c:showCatName val="0"/>
              <c:showSerName val="0"/>
              <c:showPercent val="0"/>
              <c:showBubbleSize val="0"/>
            </c:dLbl>
            <c:dLbl>
              <c:idx val="9"/>
              <c:tx>
                <c:rich>
                  <a:bodyPr/>
                  <a:lstStyle/>
                  <a:p>
                    <a:r>
                      <a:t>348.86</a:t>
                    </a:r>
                  </a:p>
                </c:rich>
              </c:tx>
              <c:dLblPos val="t"/>
              <c:showLegendKey val="0"/>
              <c:showVal val="1"/>
              <c:showCatName val="0"/>
              <c:showSerName val="0"/>
              <c:showPercent val="0"/>
              <c:showBubbleSize val="0"/>
            </c:dLbl>
            <c:dLbl>
              <c:idx val="10"/>
              <c:tx>
                <c:rich>
                  <a:bodyPr/>
                  <a:lstStyle/>
                  <a:p>
                    <a:r>
                      <a:t>359.99</a:t>
                    </a:r>
                  </a:p>
                </c:rich>
              </c:tx>
              <c:dLblPos val="t"/>
              <c:showLegendKey val="0"/>
              <c:showVal val="1"/>
              <c:showCatName val="0"/>
              <c:showSerName val="0"/>
              <c:showPercent val="0"/>
              <c:showBubbleSize val="0"/>
            </c:dLbl>
            <c:dLbl>
              <c:idx val="11"/>
              <c:tx>
                <c:rich>
                  <a:bodyPr/>
                  <a:lstStyle/>
                  <a:p>
                    <a:r>
                      <a:t>417.8</a:t>
                    </a:r>
                  </a:p>
                </c:rich>
              </c:tx>
              <c:dLblPos val="t"/>
              <c:showLegendKey val="0"/>
              <c:showVal val="1"/>
              <c:showCatName val="0"/>
              <c:showSerName val="0"/>
              <c:showPercent val="0"/>
              <c:showBubbleSize val="0"/>
            </c:dLbl>
            <c:dLbl>
              <c:idx val="12"/>
              <c:tx>
                <c:rich>
                  <a:bodyPr/>
                  <a:lstStyle/>
                  <a:p>
                    <a:r>
                      <a:t>358.05</a:t>
                    </a:r>
                  </a:p>
                </c:rich>
              </c:tx>
              <c:dLblPos val="t"/>
              <c:showLegendKey val="0"/>
              <c:showVal val="1"/>
              <c:showCatName val="0"/>
              <c:showSerName val="0"/>
              <c:showPercent val="0"/>
              <c:showBubbleSize val="0"/>
            </c:dLbl>
            <c:dLbl>
              <c:idx val="13"/>
              <c:tx>
                <c:rich>
                  <a:bodyPr/>
                  <a:lstStyle/>
                  <a:p>
                    <a:r>
                      <a:t>159.67</a:t>
                    </a:r>
                  </a:p>
                </c:rich>
              </c:tx>
              <c:dLblPos val="t"/>
              <c:showLegendKey val="0"/>
              <c:showVal val="1"/>
              <c:showCatName val="0"/>
              <c:showSerName val="0"/>
              <c:showPercent val="0"/>
              <c:showBubbleSize val="0"/>
            </c:dLbl>
            <c:dLbl>
              <c:idx val="14"/>
              <c:tx>
                <c:rich>
                  <a:bodyPr/>
                  <a:lstStyle/>
                  <a:p>
                    <a:r>
                      <a:t>277.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Spray Liquido 50 220Ml</c:v>
                </c:pt>
                <c:pt idx="2">
                  <c:v>Edgewell Hawaiian Tropic Island Sport Sunscreen Adults Sport Liquido 50 240Ml</c:v>
                </c:pt>
                <c:pt idx="3">
                  <c:v>Edgewell Banana Boat Aqua Protect Sunscreen Adults Cosmetics Spray Liquido 50+ 170Ml</c:v>
                </c:pt>
                <c:pt idx="4">
                  <c:v>Edgewell Banana Boat Advanced Protection Sunscreen Adults Cosmetics Liquido 50+ 240Ml</c:v>
                </c:pt>
                <c:pt idx="5">
                  <c:v>Edgewell Banana Boat Dry Balance Sunscreen Adults Sport Spray Liquido 50 220Ml</c:v>
                </c:pt>
                <c:pt idx="6">
                  <c:v>Edgewell Banana Boat Advanced Protection Sunscreen Adults Cosmetics Liquido 50+ 60Ml</c:v>
                </c:pt>
                <c:pt idx="7">
                  <c:v>Edgewell Hawaiian Tropic Ozono Sunscreen Adults Cosmetics Spray Liquido 50+ 180Ml</c:v>
                </c:pt>
                <c:pt idx="8">
                  <c:v>Edgewell Hawaiian Tropic Other Sunscreen Adults Cosmetics Crema 50+ 240Ml</c:v>
                </c:pt>
                <c:pt idx="9">
                  <c:v>Edgewell Banana Boat Aqua Protect Sunscreen Adults Sport Crema 50+ 236Ml</c:v>
                </c:pt>
                <c:pt idx="10">
                  <c:v>Edgewell Banana Boat Mineral Sunscreen Kids Cosmetics Locion 50 180Ml</c:v>
                </c:pt>
                <c:pt idx="11">
                  <c:v>Edgewell Banana Boat Banded Pack Banded Pack 2X Sunscreen Multi 50+ 170Ml</c:v>
                </c:pt>
                <c:pt idx="12">
                  <c:v>Edgewell Banana Boat Mineral Sunscreen Adults Sport Locion 50 18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18.53</c:v>
                </c:pt>
                <c:pt idx="1">
                  <c:v>347.12</c:v>
                </c:pt>
                <c:pt idx="2">
                  <c:v>330.0</c:v>
                </c:pt>
                <c:pt idx="3">
                  <c:v>339.09</c:v>
                </c:pt>
                <c:pt idx="4">
                  <c:v>330.54</c:v>
                </c:pt>
                <c:pt idx="5">
                  <c:v>329.19</c:v>
                </c:pt>
                <c:pt idx="6">
                  <c:v>91.75</c:v>
                </c:pt>
                <c:pt idx="7">
                  <c:v>325.31</c:v>
                </c:pt>
                <c:pt idx="8">
                  <c:v>305.32</c:v>
                </c:pt>
                <c:pt idx="9">
                  <c:v>348.86</c:v>
                </c:pt>
                <c:pt idx="10">
                  <c:v>359.99</c:v>
                </c:pt>
                <c:pt idx="11">
                  <c:v>417.8</c:v>
                </c:pt>
                <c:pt idx="12">
                  <c:v>358.05</c:v>
                </c:pt>
                <c:pt idx="13">
                  <c:v>159.67</c:v>
                </c:pt>
                <c:pt idx="14">
                  <c:v>277.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58.0</a:t>
                    </a:r>
                  </a:p>
                </c:rich>
              </c:tx>
              <c:dLblPos val="t"/>
              <c:showLegendKey val="0"/>
              <c:showVal val="1"/>
              <c:showCatName val="0"/>
              <c:showSerName val="0"/>
              <c:showPercent val="0"/>
              <c:showBubbleSize val="0"/>
            </c:dLbl>
            <c:dLbl>
              <c:idx val="2"/>
              <c:tx>
                <c:rich>
                  <a:bodyPr/>
                  <a:lstStyle/>
                  <a:p>
                    <a:r>
                      <a:t>70.09</a:t>
                    </a:r>
                  </a:p>
                </c:rich>
              </c:tx>
              <c:dLblPos val="t"/>
              <c:showLegendKey val="0"/>
              <c:showVal val="1"/>
              <c:showCatName val="0"/>
              <c:showSerName val="0"/>
              <c:showPercent val="0"/>
              <c:showBubbleSize val="0"/>
            </c:dLbl>
            <c:dLbl>
              <c:idx val="3"/>
              <c:tx>
                <c:rich>
                  <a:bodyPr/>
                  <a:lstStyle/>
                  <a:p>
                    <a:r>
                      <a:t>96.8</a:t>
                    </a:r>
                  </a:p>
                </c:rich>
              </c:tx>
              <c:dLblPos val="t"/>
              <c:showLegendKey val="0"/>
              <c:showVal val="1"/>
              <c:showCatName val="0"/>
              <c:showSerName val="0"/>
              <c:showPercent val="0"/>
              <c:showBubbleSize val="0"/>
            </c:dLbl>
            <c:dLbl>
              <c:idx val="4"/>
              <c:tx>
                <c:rich>
                  <a:bodyPr/>
                  <a:lstStyle/>
                  <a:p>
                    <a:r>
                      <a:t>220.0</a:t>
                    </a:r>
                  </a:p>
                </c:rich>
              </c:tx>
              <c:dLblPos val="t"/>
              <c:showLegendKey val="0"/>
              <c:showVal val="1"/>
              <c:showCatName val="0"/>
              <c:showSerName val="0"/>
              <c:showPercent val="0"/>
              <c:showBubbleSize val="0"/>
            </c:dLbl>
            <c:dLbl>
              <c:idx val="5"/>
              <c:tx>
                <c:rich>
                  <a:bodyPr/>
                  <a:lstStyle/>
                  <a:p>
                    <a:r>
                      <a:t>133.0</a:t>
                    </a:r>
                  </a:p>
                </c:rich>
              </c:tx>
              <c:dLblPos val="t"/>
              <c:showLegendKey val="0"/>
              <c:showVal val="1"/>
              <c:showCatName val="0"/>
              <c:showSerName val="0"/>
              <c:showPercent val="0"/>
              <c:showBubbleSize val="0"/>
            </c:dLbl>
            <c:dLbl>
              <c:idx val="6"/>
              <c:tx>
                <c:rich>
                  <a:bodyPr/>
                  <a:lstStyle/>
                  <a:p>
                    <a:r>
                      <a:t>234.59</a:t>
                    </a:r>
                  </a:p>
                </c:rich>
              </c:tx>
              <c:dLblPos val="t"/>
              <c:showLegendKey val="0"/>
              <c:showVal val="1"/>
              <c:showCatName val="0"/>
              <c:showSerName val="0"/>
              <c:showPercent val="0"/>
              <c:showBubbleSize val="0"/>
            </c:dLbl>
            <c:dLbl>
              <c:idx val="7"/>
              <c:tx>
                <c:rich>
                  <a:bodyPr/>
                  <a:lstStyle/>
                  <a:p>
                    <a:r>
                      <a:t>205.93</a:t>
                    </a:r>
                  </a:p>
                </c:rich>
              </c:tx>
              <c:dLblPos val="t"/>
              <c:showLegendKey val="0"/>
              <c:showVal val="1"/>
              <c:showCatName val="0"/>
              <c:showSerName val="0"/>
              <c:showPercent val="0"/>
              <c:showBubbleSize val="0"/>
            </c:dLbl>
            <c:dLbl>
              <c:idx val="8"/>
              <c:tx>
                <c:rich>
                  <a:bodyPr/>
                  <a:lstStyle/>
                  <a:p>
                    <a:r>
                      <a:t>12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dgewell Hawaiian Tropic Other Sunscreen Adults Cosmetics Crema 50+ 240Ml</c:v>
                </c:pt>
                <c:pt idx="1">
                  <c:v>Edgewell Hawaiian Tropic Baby Sunscreen Baby Cosmetics Crema 50+ 240Ml</c:v>
                </c:pt>
                <c:pt idx="2">
                  <c:v>Edgewell Hawaiian Tropic Island Sport Sunscreen Adults Sport Liquido 50 60Ml</c:v>
                </c:pt>
                <c:pt idx="3">
                  <c:v>Edgewell Banana Boat Advanced Protection Sunscreen Adults Cosmetics Liquido 50+ 60Ml</c:v>
                </c:pt>
                <c:pt idx="4">
                  <c:v>Edgewell Hawaiian Tropic Island Sport Sunscreen Adults Sport Spray Liquido 50 220Ml</c:v>
                </c:pt>
                <c:pt idx="5">
                  <c:v>Edgewell Hawaiian Tropic Sheer Touch Sunscreen Adults Cosmetics Liquido 30 - 49 60Ml</c:v>
                </c:pt>
                <c:pt idx="6">
                  <c:v>Edgewell Banana Boat Mineral Sunscreen Adults Cosmetics Locion 50 60Ml</c:v>
                </c:pt>
                <c:pt idx="7">
                  <c:v>Edgewell Banana Boat Banded Pack Banded Pack 2X Sunscreen Multi 50+ 170Ml</c:v>
                </c:pt>
                <c:pt idx="8">
                  <c:v>Edgewell Banana Boat Gentle Protect Sunscreen Adults Cosmetics Locion 50 180Ml</c:v>
                </c:pt>
              </c:strCache>
            </c:strRef>
          </c:cat>
          <c:val>
            <c:numRef>
              <c:f>Sheet1!$B$2:$B$10</c:f>
              <c:numCache>
                <c:formatCode>General</c:formatCode>
                <c:ptCount val="9"/>
                <c:pt idx="0">
                  <c:v>240.0</c:v>
                </c:pt>
                <c:pt idx="1">
                  <c:v>258.0</c:v>
                </c:pt>
                <c:pt idx="2">
                  <c:v>70.09</c:v>
                </c:pt>
                <c:pt idx="3">
                  <c:v>96.8</c:v>
                </c:pt>
                <c:pt idx="4">
                  <c:v>220.0</c:v>
                </c:pt>
                <c:pt idx="5">
                  <c:v>133.0</c:v>
                </c:pt>
                <c:pt idx="6">
                  <c:v>234.59</c:v>
                </c:pt>
                <c:pt idx="7">
                  <c:v>205.93</c:v>
                </c:pt>
                <c:pt idx="8">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dLblPos val="t"/>
              <c:showLegendKey val="0"/>
              <c:showVal val="1"/>
              <c:showCatName val="0"/>
              <c:showSerName val="0"/>
              <c:showPercent val="0"/>
              <c:showBubbleSize val="0"/>
            </c:dLbl>
            <c:dLbl>
              <c:idx val="1"/>
              <c:tx>
                <c:rich>
                  <a:bodyPr/>
                  <a:lstStyle/>
                  <a:p>
                    <a:r>
                      <a:t>305.29</a:t>
                    </a:r>
                  </a:p>
                </c:rich>
              </c:tx>
              <c:dLblPos val="t"/>
              <c:showLegendKey val="0"/>
              <c:showVal val="1"/>
              <c:showCatName val="0"/>
              <c:showSerName val="0"/>
              <c:showPercent val="0"/>
              <c:showBubbleSize val="0"/>
            </c:dLbl>
            <c:dLbl>
              <c:idx val="2"/>
              <c:tx>
                <c:rich>
                  <a:bodyPr/>
                  <a:lstStyle/>
                  <a:p>
                    <a:r>
                      <a:t>311.93</a:t>
                    </a:r>
                  </a:p>
                </c:rich>
              </c:tx>
              <c:dLblPos val="t"/>
              <c:showLegendKey val="0"/>
              <c:showVal val="1"/>
              <c:showCatName val="0"/>
              <c:showSerName val="0"/>
              <c:showPercent val="0"/>
              <c:showBubbleSize val="0"/>
            </c:dLbl>
            <c:dLbl>
              <c:idx val="3"/>
              <c:tx>
                <c:rich>
                  <a:bodyPr/>
                  <a:lstStyle/>
                  <a:p>
                    <a:r>
                      <a:t>101.15</a:t>
                    </a:r>
                  </a:p>
                </c:rich>
              </c:tx>
              <c:dLblPos val="t"/>
              <c:showLegendKey val="0"/>
              <c:showVal val="1"/>
              <c:showCatName val="0"/>
              <c:showSerName val="0"/>
              <c:showPercent val="0"/>
              <c:showBubbleSize val="0"/>
            </c:dLbl>
            <c:dLbl>
              <c:idx val="4"/>
              <c:tx>
                <c:rich>
                  <a:bodyPr/>
                  <a:lstStyle/>
                  <a:p>
                    <a:r>
                      <a:t>330.69</a:t>
                    </a:r>
                  </a:p>
                </c:rich>
              </c:tx>
              <c:dLblPos val="t"/>
              <c:showLegendKey val="0"/>
              <c:showVal val="1"/>
              <c:showCatName val="0"/>
              <c:showSerName val="0"/>
              <c:showPercent val="0"/>
              <c:showBubbleSize val="0"/>
            </c:dLbl>
            <c:dLbl>
              <c:idx val="5"/>
              <c:tx>
                <c:rich>
                  <a:bodyPr/>
                  <a:lstStyle/>
                  <a:p>
                    <a:r>
                      <a:t>298.88</a:t>
                    </a:r>
                  </a:p>
                </c:rich>
              </c:tx>
              <c:dLblPos val="t"/>
              <c:showLegendKey val="0"/>
              <c:showVal val="1"/>
              <c:showCatName val="0"/>
              <c:showSerName val="0"/>
              <c:showPercent val="0"/>
              <c:showBubbleSize val="0"/>
            </c:dLbl>
            <c:dLbl>
              <c:idx val="6"/>
              <c:tx>
                <c:rich>
                  <a:bodyPr/>
                  <a:lstStyle/>
                  <a:p>
                    <a:r>
                      <a:t>312.87</a:t>
                    </a:r>
                  </a:p>
                </c:rich>
              </c:tx>
              <c:dLblPos val="t"/>
              <c:showLegendKey val="0"/>
              <c:showVal val="1"/>
              <c:showCatName val="0"/>
              <c:showSerName val="0"/>
              <c:showPercent val="0"/>
              <c:showBubbleSize val="0"/>
            </c:dLbl>
            <c:dLbl>
              <c:idx val="7"/>
              <c:tx>
                <c:rich>
                  <a:bodyPr/>
                  <a:lstStyle/>
                  <a:p>
                    <a:r>
                      <a:t>324.32</a:t>
                    </a:r>
                  </a:p>
                </c:rich>
              </c:tx>
              <c:dLblPos val="t"/>
              <c:showLegendKey val="0"/>
              <c:showVal val="1"/>
              <c:showCatName val="0"/>
              <c:showSerName val="0"/>
              <c:showPercent val="0"/>
              <c:showBubbleSize val="0"/>
            </c:dLbl>
            <c:dLbl>
              <c:idx val="8"/>
              <c:tx>
                <c:rich>
                  <a:bodyPr/>
                  <a:lstStyle/>
                  <a:p>
                    <a:r>
                      <a:t>312.14</a:t>
                    </a:r>
                  </a:p>
                </c:rich>
              </c:tx>
              <c:dLblPos val="t"/>
              <c:showLegendKey val="0"/>
              <c:showVal val="1"/>
              <c:showCatName val="0"/>
              <c:showSerName val="0"/>
              <c:showPercent val="0"/>
              <c:showBubbleSize val="0"/>
            </c:dLbl>
            <c:dLbl>
              <c:idx val="9"/>
              <c:tx>
                <c:rich>
                  <a:bodyPr/>
                  <a:lstStyle/>
                  <a:p>
                    <a:r>
                      <a:t>281.61</a:t>
                    </a:r>
                  </a:p>
                </c:rich>
              </c:tx>
              <c:dLblPos val="t"/>
              <c:showLegendKey val="0"/>
              <c:showVal val="1"/>
              <c:showCatName val="0"/>
              <c:showSerName val="0"/>
              <c:showPercent val="0"/>
              <c:showBubbleSize val="0"/>
            </c:dLbl>
            <c:dLbl>
              <c:idx val="10"/>
              <c:tx>
                <c:rich>
                  <a:bodyPr/>
                  <a:lstStyle/>
                  <a:p>
                    <a:r>
                      <a:t>290.34</a:t>
                    </a:r>
                  </a:p>
                </c:rich>
              </c:tx>
              <c:dLblPos val="t"/>
              <c:showLegendKey val="0"/>
              <c:showVal val="1"/>
              <c:showCatName val="0"/>
              <c:showSerName val="0"/>
              <c:showPercent val="0"/>
              <c:showBubbleSize val="0"/>
            </c:dLbl>
            <c:dLbl>
              <c:idx val="11"/>
              <c:tx>
                <c:rich>
                  <a:bodyPr/>
                  <a:lstStyle/>
                  <a:p>
                    <a:r>
                      <a:t>189.54</a:t>
                    </a:r>
                  </a:p>
                </c:rich>
              </c:tx>
              <c:dLblPos val="t"/>
              <c:showLegendKey val="0"/>
              <c:showVal val="1"/>
              <c:showCatName val="0"/>
              <c:showSerName val="0"/>
              <c:showPercent val="0"/>
              <c:showBubbleSize val="0"/>
            </c:dLbl>
            <c:dLbl>
              <c:idx val="12"/>
              <c:tx>
                <c:rich>
                  <a:bodyPr/>
                  <a:lstStyle/>
                  <a:p>
                    <a:r>
                      <a:t>300.48</a:t>
                    </a:r>
                  </a:p>
                </c:rich>
              </c:tx>
              <c:dLblPos val="t"/>
              <c:showLegendKey val="0"/>
              <c:showVal val="1"/>
              <c:showCatName val="0"/>
              <c:showSerName val="0"/>
              <c:showPercent val="0"/>
              <c:showBubbleSize val="0"/>
            </c:dLbl>
            <c:dLbl>
              <c:idx val="13"/>
              <c:tx>
                <c:rich>
                  <a:bodyPr/>
                  <a:lstStyle/>
                  <a:p>
                    <a:r>
                      <a:t>326.59</a:t>
                    </a:r>
                  </a:p>
                </c:rich>
              </c:tx>
              <c:dLblPos val="t"/>
              <c:showLegendKey val="0"/>
              <c:showVal val="1"/>
              <c:showCatName val="0"/>
              <c:showSerName val="0"/>
              <c:showPercent val="0"/>
              <c:showBubbleSize val="0"/>
            </c:dLbl>
            <c:dLbl>
              <c:idx val="14"/>
              <c:tx>
                <c:rich>
                  <a:bodyPr/>
                  <a:lstStyle/>
                  <a:p>
                    <a:r>
                      <a:t>268.2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Dry Balance Sunscreen Adults Sport Spray Liquido 50 220Ml</c:v>
                </c:pt>
                <c:pt idx="3">
                  <c:v>Edgewell Hawaiian Tropic Ozono Sunscreen Adults Cosmetics Liquido 50+ 90Ml</c:v>
                </c:pt>
                <c:pt idx="4">
                  <c:v>Edgewell Hawaiian Tropic Ozono Sunscreen Adults Cosmetics Spray Liquido 50+ 180Ml</c:v>
                </c:pt>
                <c:pt idx="5">
                  <c:v>Edgewell Banana Boat Advanced Protection Sunscreen Adults Cosmetics Liquido 50+ 240Ml</c:v>
                </c:pt>
                <c:pt idx="6">
                  <c:v>Edgewell Banana Boat Aqua Protect Sunscreen Adults Cosmetics Spray Liquido 50+ 170Ml</c:v>
                </c:pt>
                <c:pt idx="7">
                  <c:v>Edgewell Hawaiian Tropic Island Sport Sunscreen Adults Sport Spray Liquido 50 220Ml</c:v>
                </c:pt>
                <c:pt idx="8">
                  <c:v>Edgewell Hawaiian Tropic Other Sunscreen Adults Cosmetics Crema 50+ 240Ml</c:v>
                </c:pt>
                <c:pt idx="9">
                  <c:v>Edgewell Banana Boat Aqua Protect Sunscreen Adults Sport Crema 50+ 236Ml</c:v>
                </c:pt>
                <c:pt idx="10">
                  <c:v>Edgewell Banana Boat Aqua Protect Sunscreen Adults Cosmetics Crema 50+ 236Ml</c:v>
                </c:pt>
                <c:pt idx="11">
                  <c:v>Edgewell Hawaiian Tropic Sheer Touch Sunscreen Adults Cosmetics Crema 50 120Ml</c:v>
                </c:pt>
                <c:pt idx="12">
                  <c:v>Edgewell Hawaiian Tropic Sheer Touch Sunscreen Adults Cosmetics Crema 30 - 49 240Ml</c:v>
                </c:pt>
                <c:pt idx="13">
                  <c:v>Edgewell Banana Boat Banded Pack Banded Pack 2X Sunscreen Multi 50+ 170Ml</c:v>
                </c:pt>
                <c:pt idx="14">
                  <c:v>Edgewell Banana Boat Banded Pack Banded Pack 2X Sunscreen Multi 50+ 236Ml</c:v>
                </c:pt>
              </c:strCache>
            </c:strRef>
          </c:cat>
          <c:val>
            <c:numRef>
              <c:f>Sheet1!$B$2:$B$16</c:f>
              <c:numCache>
                <c:formatCode>General</c:formatCode>
                <c:ptCount val="15"/>
                <c:pt idx="0">
                  <c:v>305.1</c:v>
                </c:pt>
                <c:pt idx="1">
                  <c:v>305.29</c:v>
                </c:pt>
                <c:pt idx="2">
                  <c:v>311.93</c:v>
                </c:pt>
                <c:pt idx="3">
                  <c:v>101.15</c:v>
                </c:pt>
                <c:pt idx="4">
                  <c:v>330.69</c:v>
                </c:pt>
                <c:pt idx="5">
                  <c:v>298.88</c:v>
                </c:pt>
                <c:pt idx="6">
                  <c:v>312.87</c:v>
                </c:pt>
                <c:pt idx="7">
                  <c:v>324.32</c:v>
                </c:pt>
                <c:pt idx="8">
                  <c:v>312.14</c:v>
                </c:pt>
                <c:pt idx="9">
                  <c:v>281.61</c:v>
                </c:pt>
                <c:pt idx="10">
                  <c:v>290.34</c:v>
                </c:pt>
                <c:pt idx="11">
                  <c:v>189.54</c:v>
                </c:pt>
                <c:pt idx="12">
                  <c:v>300.48</c:v>
                </c:pt>
                <c:pt idx="13">
                  <c:v>326.59</c:v>
                </c:pt>
                <c:pt idx="14">
                  <c:v>268.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6.89</a:t>
                    </a:r>
                  </a:p>
                </c:rich>
              </c:tx>
              <c:dLblPos val="t"/>
              <c:showLegendKey val="0"/>
              <c:showVal val="1"/>
              <c:showCatName val="0"/>
              <c:showSerName val="0"/>
              <c:showPercent val="0"/>
              <c:showBubbleSize val="0"/>
            </c:dLbl>
            <c:dLbl>
              <c:idx val="1"/>
              <c:tx>
                <c:rich>
                  <a:bodyPr/>
                  <a:lstStyle/>
                  <a:p>
                    <a:r>
                      <a:t>286.0</a:t>
                    </a:r>
                  </a:p>
                </c:rich>
              </c:tx>
              <c:dLblPos val="t"/>
              <c:showLegendKey val="0"/>
              <c:showVal val="1"/>
              <c:showCatName val="0"/>
              <c:showSerName val="0"/>
              <c:showPercent val="0"/>
              <c:showBubbleSize val="0"/>
            </c:dLbl>
            <c:dLbl>
              <c:idx val="2"/>
              <c:tx>
                <c:rich>
                  <a:bodyPr/>
                  <a:lstStyle/>
                  <a:p>
                    <a:r>
                      <a:t>308.58</a:t>
                    </a:r>
                  </a:p>
                </c:rich>
              </c:tx>
              <c:dLblPos val="t"/>
              <c:showLegendKey val="0"/>
              <c:showVal val="1"/>
              <c:showCatName val="0"/>
              <c:showSerName val="0"/>
              <c:showPercent val="0"/>
              <c:showBubbleSize val="0"/>
            </c:dLbl>
            <c:dLbl>
              <c:idx val="3"/>
              <c:tx>
                <c:rich>
                  <a:bodyPr/>
                  <a:lstStyle/>
                  <a:p>
                    <a:r>
                      <a:t>305.0</a:t>
                    </a:r>
                  </a:p>
                </c:rich>
              </c:tx>
              <c:dLblPos val="t"/>
              <c:showLegendKey val="0"/>
              <c:showVal val="1"/>
              <c:showCatName val="0"/>
              <c:showSerName val="0"/>
              <c:showPercent val="0"/>
              <c:showBubbleSize val="0"/>
            </c:dLbl>
            <c:dLbl>
              <c:idx val="4"/>
              <c:tx>
                <c:rich>
                  <a:bodyPr/>
                  <a:lstStyle/>
                  <a:p>
                    <a:r>
                      <a:t>312.34</a:t>
                    </a:r>
                  </a:p>
                </c:rich>
              </c:tx>
              <c:dLblPos val="t"/>
              <c:showLegendKey val="0"/>
              <c:showVal val="1"/>
              <c:showCatName val="0"/>
              <c:showSerName val="0"/>
              <c:showPercent val="0"/>
              <c:showBubbleSize val="0"/>
            </c:dLbl>
            <c:dLbl>
              <c:idx val="5"/>
              <c:tx>
                <c:rich>
                  <a:bodyPr/>
                  <a:lstStyle/>
                  <a:p>
                    <a:r>
                      <a:t>281.45</a:t>
                    </a:r>
                  </a:p>
                </c:rich>
              </c:tx>
              <c:dLblPos val="t"/>
              <c:showLegendKey val="0"/>
              <c:showVal val="1"/>
              <c:showCatName val="0"/>
              <c:showSerName val="0"/>
              <c:showPercent val="0"/>
              <c:showBubbleSize val="0"/>
            </c:dLbl>
            <c:dLbl>
              <c:idx val="6"/>
              <c:tx>
                <c:rich>
                  <a:bodyPr/>
                  <a:lstStyle/>
                  <a:p>
                    <a:r>
                      <a:t>294.17</a:t>
                    </a:r>
                  </a:p>
                </c:rich>
              </c:tx>
              <c:dLblPos val="t"/>
              <c:showLegendKey val="0"/>
              <c:showVal val="1"/>
              <c:showCatName val="0"/>
              <c:showSerName val="0"/>
              <c:showPercent val="0"/>
              <c:showBubbleSize val="0"/>
            </c:dLbl>
            <c:dLbl>
              <c:idx val="7"/>
              <c:tx>
                <c:rich>
                  <a:bodyPr/>
                  <a:lstStyle/>
                  <a:p>
                    <a:r>
                      <a:t>104.39</a:t>
                    </a:r>
                  </a:p>
                </c:rich>
              </c:tx>
              <c:dLblPos val="t"/>
              <c:showLegendKey val="0"/>
              <c:showVal val="1"/>
              <c:showCatName val="0"/>
              <c:showSerName val="0"/>
              <c:showPercent val="0"/>
              <c:showBubbleSize val="0"/>
            </c:dLbl>
            <c:dLbl>
              <c:idx val="8"/>
              <c:tx>
                <c:rich>
                  <a:bodyPr/>
                  <a:lstStyle/>
                  <a:p>
                    <a:r>
                      <a:t>289.72</a:t>
                    </a:r>
                  </a:p>
                </c:rich>
              </c:tx>
              <c:dLblPos val="t"/>
              <c:showLegendKey val="0"/>
              <c:showVal val="1"/>
              <c:showCatName val="0"/>
              <c:showSerName val="0"/>
              <c:showPercent val="0"/>
              <c:showBubbleSize val="0"/>
            </c:dLbl>
            <c:dLbl>
              <c:idx val="9"/>
              <c:tx>
                <c:rich>
                  <a:bodyPr/>
                  <a:lstStyle/>
                  <a:p>
                    <a:r>
                      <a:t>278.07</a:t>
                    </a:r>
                  </a:p>
                </c:rich>
              </c:tx>
              <c:dLblPos val="t"/>
              <c:showLegendKey val="0"/>
              <c:showVal val="1"/>
              <c:showCatName val="0"/>
              <c:showSerName val="0"/>
              <c:showPercent val="0"/>
              <c:showBubbleSize val="0"/>
            </c:dLbl>
            <c:dLbl>
              <c:idx val="10"/>
              <c:tx>
                <c:rich>
                  <a:bodyPr/>
                  <a:lstStyle/>
                  <a:p>
                    <a:r>
                      <a:t>268.08</a:t>
                    </a:r>
                  </a:p>
                </c:rich>
              </c:tx>
              <c:dLblPos val="t"/>
              <c:showLegendKey val="0"/>
              <c:showVal val="1"/>
              <c:showCatName val="0"/>
              <c:showSerName val="0"/>
              <c:showPercent val="0"/>
              <c:showBubbleSize val="0"/>
            </c:dLbl>
            <c:dLbl>
              <c:idx val="11"/>
              <c:tx>
                <c:rich>
                  <a:bodyPr/>
                  <a:lstStyle/>
                  <a:p>
                    <a:r>
                      <a:t>309.4</a:t>
                    </a:r>
                  </a:p>
                </c:rich>
              </c:tx>
              <c:dLblPos val="t"/>
              <c:showLegendKey val="0"/>
              <c:showVal val="1"/>
              <c:showCatName val="0"/>
              <c:showSerName val="0"/>
              <c:showPercent val="0"/>
              <c:showBubbleSize val="0"/>
            </c:dLbl>
            <c:dLbl>
              <c:idx val="12"/>
              <c:tx>
                <c:rich>
                  <a:bodyPr/>
                  <a:lstStyle/>
                  <a:p>
                    <a:r>
                      <a:t>254.7</a:t>
                    </a:r>
                  </a:p>
                </c:rich>
              </c:tx>
              <c:dLblPos val="t"/>
              <c:showLegendKey val="0"/>
              <c:showVal val="1"/>
              <c:showCatName val="0"/>
              <c:showSerName val="0"/>
              <c:showPercent val="0"/>
              <c:showBubbleSize val="0"/>
            </c:dLbl>
            <c:dLbl>
              <c:idx val="13"/>
              <c:tx>
                <c:rich>
                  <a:bodyPr/>
                  <a:lstStyle/>
                  <a:p>
                    <a:r>
                      <a:t>147.65</a:t>
                    </a:r>
                  </a:p>
                </c:rich>
              </c:tx>
              <c:dLblPos val="t"/>
              <c:showLegendKey val="0"/>
              <c:showVal val="1"/>
              <c:showCatName val="0"/>
              <c:showSerName val="0"/>
              <c:showPercent val="0"/>
              <c:showBubbleSize val="0"/>
            </c:dLbl>
            <c:dLbl>
              <c:idx val="14"/>
              <c:tx>
                <c:rich>
                  <a:bodyPr/>
                  <a:lstStyle/>
                  <a:p>
                    <a:r>
                      <a:t>278.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Aqua Protect Sunscreen Adults Cosmetics Spray Liquido 50+ 170Ml</c:v>
                </c:pt>
                <c:pt idx="3">
                  <c:v>Edgewell Banana Boat Dry Balance Sunscreen Adults Sport Spray Liquido 50 220Ml</c:v>
                </c:pt>
                <c:pt idx="4">
                  <c:v>Edgewell Hawaiian Tropic Island Sport Sunscreen Adults Sport Spray Liquido 50 220Ml</c:v>
                </c:pt>
                <c:pt idx="5">
                  <c:v>Edgewell Banana Boat Advanced Protection Sunscreen Adults Cosmetics Liquido 50+ 240Ml</c:v>
                </c:pt>
                <c:pt idx="6">
                  <c:v>Edgewell Hawaiian Tropic Ozono Sunscreen Adults Cosmetics Spray Liquido 50+ 180Ml</c:v>
                </c:pt>
                <c:pt idx="7">
                  <c:v>Edgewell Hawaiian Tropic Ozono Sunscreen Adults Cosmetics Liquido 50+ 90Ml</c:v>
                </c:pt>
                <c:pt idx="8">
                  <c:v>Edgewell Hawaiian Tropic Other Sunscreen Adults Cosmetics Crema 50+ 240Ml</c:v>
                </c:pt>
                <c:pt idx="9">
                  <c:v>Edgewell Banana Boat Aqua Protect Sunscreen Adults Sport Crema 50+ 236Ml</c:v>
                </c:pt>
                <c:pt idx="10">
                  <c:v>Edgewell Banana Boat Aqua Protect Sunscreen Adults Cosmetics Crema 50+ 236Ml</c:v>
                </c:pt>
                <c:pt idx="11">
                  <c:v>Edgewell Banana Boat Banded Pack Banded Pack 2X Sunscreen Multi 50+ 170Ml</c:v>
                </c:pt>
                <c:pt idx="12">
                  <c:v>Edgewell Banana Boat Banded Pack Banded Pack 2X Sunscreen Multi 50+ 236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286.89</c:v>
                </c:pt>
                <c:pt idx="1">
                  <c:v>286.0</c:v>
                </c:pt>
                <c:pt idx="2">
                  <c:v>308.58</c:v>
                </c:pt>
                <c:pt idx="3">
                  <c:v>305.0</c:v>
                </c:pt>
                <c:pt idx="4">
                  <c:v>312.34</c:v>
                </c:pt>
                <c:pt idx="5">
                  <c:v>281.45</c:v>
                </c:pt>
                <c:pt idx="6">
                  <c:v>294.17</c:v>
                </c:pt>
                <c:pt idx="7">
                  <c:v>104.39</c:v>
                </c:pt>
                <c:pt idx="8">
                  <c:v>289.72</c:v>
                </c:pt>
                <c:pt idx="9">
                  <c:v>278.07</c:v>
                </c:pt>
                <c:pt idx="10">
                  <c:v>268.08</c:v>
                </c:pt>
                <c:pt idx="11">
                  <c:v>309.4</c:v>
                </c:pt>
                <c:pt idx="12">
                  <c:v>254.7</c:v>
                </c:pt>
                <c:pt idx="13">
                  <c:v>147.65</c:v>
                </c:pt>
                <c:pt idx="14">
                  <c:v>278.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1.91</a:t>
                    </a:r>
                  </a:p>
                </c:rich>
              </c:tx>
              <c:dLblPos val="t"/>
              <c:showLegendKey val="0"/>
              <c:showVal val="1"/>
              <c:showCatName val="0"/>
              <c:showSerName val="0"/>
              <c:showPercent val="0"/>
              <c:showBubbleSize val="0"/>
            </c:dLbl>
            <c:dLbl>
              <c:idx val="1"/>
              <c:tx>
                <c:rich>
                  <a:bodyPr/>
                  <a:lstStyle/>
                  <a:p>
                    <a:r>
                      <a:t>292.61</a:t>
                    </a:r>
                  </a:p>
                </c:rich>
              </c:tx>
              <c:dLblPos val="t"/>
              <c:showLegendKey val="0"/>
              <c:showVal val="1"/>
              <c:showCatName val="0"/>
              <c:showSerName val="0"/>
              <c:showPercent val="0"/>
              <c:showBubbleSize val="0"/>
            </c:dLbl>
            <c:dLbl>
              <c:idx val="2"/>
              <c:tx>
                <c:rich>
                  <a:bodyPr/>
                  <a:lstStyle/>
                  <a:p>
                    <a:r>
                      <a:t>312.46</a:t>
                    </a:r>
                  </a:p>
                </c:rich>
              </c:tx>
              <c:dLblPos val="t"/>
              <c:showLegendKey val="0"/>
              <c:showVal val="1"/>
              <c:showCatName val="0"/>
              <c:showSerName val="0"/>
              <c:showPercent val="0"/>
              <c:showBubbleSize val="0"/>
            </c:dLbl>
            <c:dLbl>
              <c:idx val="3"/>
              <c:tx>
                <c:rich>
                  <a:bodyPr/>
                  <a:lstStyle/>
                  <a:p>
                    <a:r>
                      <a:t>314.98</a:t>
                    </a:r>
                  </a:p>
                </c:rich>
              </c:tx>
              <c:dLblPos val="t"/>
              <c:showLegendKey val="0"/>
              <c:showVal val="1"/>
              <c:showCatName val="0"/>
              <c:showSerName val="0"/>
              <c:showPercent val="0"/>
              <c:showBubbleSize val="0"/>
            </c:dLbl>
            <c:dLbl>
              <c:idx val="4"/>
              <c:tx>
                <c:rich>
                  <a:bodyPr/>
                  <a:lstStyle/>
                  <a:p>
                    <a:r>
                      <a:t>323.42</a:t>
                    </a:r>
                  </a:p>
                </c:rich>
              </c:tx>
              <c:dLblPos val="t"/>
              <c:showLegendKey val="0"/>
              <c:showVal val="1"/>
              <c:showCatName val="0"/>
              <c:showSerName val="0"/>
              <c:showPercent val="0"/>
              <c:showBubbleSize val="0"/>
            </c:dLbl>
            <c:dLbl>
              <c:idx val="5"/>
              <c:tx>
                <c:rich>
                  <a:bodyPr/>
                  <a:lstStyle/>
                  <a:p>
                    <a:r>
                      <a:t>286.78</a:t>
                    </a:r>
                  </a:p>
                </c:rich>
              </c:tx>
              <c:dLblPos val="t"/>
              <c:showLegendKey val="0"/>
              <c:showVal val="1"/>
              <c:showCatName val="0"/>
              <c:showSerName val="0"/>
              <c:showPercent val="0"/>
              <c:showBubbleSize val="0"/>
            </c:dLbl>
            <c:dLbl>
              <c:idx val="6"/>
              <c:tx>
                <c:rich>
                  <a:bodyPr/>
                  <a:lstStyle/>
                  <a:p>
                    <a:r>
                      <a:t>309.18</a:t>
                    </a:r>
                  </a:p>
                </c:rich>
              </c:tx>
              <c:dLblPos val="t"/>
              <c:showLegendKey val="0"/>
              <c:showVal val="1"/>
              <c:showCatName val="0"/>
              <c:showSerName val="0"/>
              <c:showPercent val="0"/>
              <c:showBubbleSize val="0"/>
            </c:dLbl>
            <c:dLbl>
              <c:idx val="7"/>
              <c:tx>
                <c:rich>
                  <a:bodyPr/>
                  <a:lstStyle/>
                  <a:p>
                    <a:r>
                      <a:t>105.11</a:t>
                    </a:r>
                  </a:p>
                </c:rich>
              </c:tx>
              <c:dLblPos val="t"/>
              <c:showLegendKey val="0"/>
              <c:showVal val="1"/>
              <c:showCatName val="0"/>
              <c:showSerName val="0"/>
              <c:showPercent val="0"/>
              <c:showBubbleSize val="0"/>
            </c:dLbl>
            <c:dLbl>
              <c:idx val="8"/>
              <c:tx>
                <c:rich>
                  <a:bodyPr/>
                  <a:lstStyle/>
                  <a:p>
                    <a:r>
                      <a:t>295.5</a:t>
                    </a:r>
                  </a:p>
                </c:rich>
              </c:tx>
              <c:dLblPos val="t"/>
              <c:showLegendKey val="0"/>
              <c:showVal val="1"/>
              <c:showCatName val="0"/>
              <c:showSerName val="0"/>
              <c:showPercent val="0"/>
              <c:showBubbleSize val="0"/>
            </c:dLbl>
            <c:dLbl>
              <c:idx val="9"/>
              <c:tx>
                <c:rich>
                  <a:bodyPr/>
                  <a:lstStyle/>
                  <a:p>
                    <a:r>
                      <a:t>286.35</a:t>
                    </a:r>
                  </a:p>
                </c:rich>
              </c:tx>
              <c:dLblPos val="t"/>
              <c:showLegendKey val="0"/>
              <c:showVal val="1"/>
              <c:showCatName val="0"/>
              <c:showSerName val="0"/>
              <c:showPercent val="0"/>
              <c:showBubbleSize val="0"/>
            </c:dLbl>
            <c:dLbl>
              <c:idx val="10"/>
              <c:tx>
                <c:rich>
                  <a:bodyPr/>
                  <a:lstStyle/>
                  <a:p>
                    <a:r>
                      <a:t>274.64</a:t>
                    </a:r>
                  </a:p>
                </c:rich>
              </c:tx>
              <c:dLblPos val="t"/>
              <c:showLegendKey val="0"/>
              <c:showVal val="1"/>
              <c:showCatName val="0"/>
              <c:showSerName val="0"/>
              <c:showPercent val="0"/>
              <c:showBubbleSize val="0"/>
            </c:dLbl>
            <c:dLbl>
              <c:idx val="11"/>
              <c:tx>
                <c:rich>
                  <a:bodyPr/>
                  <a:lstStyle/>
                  <a:p>
                    <a:r>
                      <a:t>320.31</a:t>
                    </a:r>
                  </a:p>
                </c:rich>
              </c:tx>
              <c:dLblPos val="t"/>
              <c:showLegendKey val="0"/>
              <c:showVal val="1"/>
              <c:showCatName val="0"/>
              <c:showSerName val="0"/>
              <c:showPercent val="0"/>
              <c:showBubbleSize val="0"/>
            </c:dLbl>
            <c:dLbl>
              <c:idx val="12"/>
              <c:tx>
                <c:rich>
                  <a:bodyPr/>
                  <a:lstStyle/>
                  <a:p>
                    <a:r>
                      <a:t>266.75</a:t>
                    </a:r>
                  </a:p>
                </c:rich>
              </c:tx>
              <c:dLblPos val="t"/>
              <c:showLegendKey val="0"/>
              <c:showVal val="1"/>
              <c:showCatName val="0"/>
              <c:showSerName val="0"/>
              <c:showPercent val="0"/>
              <c:showBubbleSize val="0"/>
            </c:dLbl>
            <c:dLbl>
              <c:idx val="13"/>
              <c:tx>
                <c:rich>
                  <a:bodyPr/>
                  <a:lstStyle/>
                  <a:p>
                    <a:r>
                      <a:t>148.93</a:t>
                    </a:r>
                  </a:p>
                </c:rich>
              </c:tx>
              <c:dLblPos val="t"/>
              <c:showLegendKey val="0"/>
              <c:showVal val="1"/>
              <c:showCatName val="0"/>
              <c:showSerName val="0"/>
              <c:showPercent val="0"/>
              <c:showBubbleSize val="0"/>
            </c:dLbl>
            <c:dLbl>
              <c:idx val="14"/>
              <c:tx>
                <c:rich>
                  <a:bodyPr/>
                  <a:lstStyle/>
                  <a:p>
                    <a:r>
                      <a:t>279.8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Aqua Protect Sunscreen Adults Cosmetics Spray Liquido 50+ 170Ml</c:v>
                </c:pt>
                <c:pt idx="3">
                  <c:v>Edgewell Banana Boat Dry Balance Sunscreen Adults Sport Spray Liquido 50 220Ml</c:v>
                </c:pt>
                <c:pt idx="4">
                  <c:v>Edgewell Hawaiian Tropic Island Sport Sunscreen Adults Sport Spray Liquido 50 220Ml</c:v>
                </c:pt>
                <c:pt idx="5">
                  <c:v>Edgewell Banana Boat Advanced Protection Sunscreen Adults Cosmetics Liquido 50+ 240Ml</c:v>
                </c:pt>
                <c:pt idx="6">
                  <c:v>Edgewell Hawaiian Tropic Ozono Sunscreen Adults Cosmetics Spray Liquido 50+ 180Ml</c:v>
                </c:pt>
                <c:pt idx="7">
                  <c:v>Edgewell Hawaiian Tropic Ozono Sunscreen Adults Cosmetics Liquido 50+ 90Ml</c:v>
                </c:pt>
                <c:pt idx="8">
                  <c:v>Edgewell Hawaiian Tropic Other Sunscreen Adults Cosmetics Crema 50+ 240Ml</c:v>
                </c:pt>
                <c:pt idx="9">
                  <c:v>Edgewell Banana Boat Aqua Protect Sunscreen Adults Sport Crema 50+ 236Ml</c:v>
                </c:pt>
                <c:pt idx="10">
                  <c:v>Edgewell Banana Boat Aqua Protect Sunscreen Adults Cosmetics Crema 50+ 236Ml</c:v>
                </c:pt>
                <c:pt idx="11">
                  <c:v>Edgewell Banana Boat Banded Pack Banded Pack 2X Sunscreen Multi 50+ 170Ml</c:v>
                </c:pt>
                <c:pt idx="12">
                  <c:v>Edgewell Banana Boat Banded Pack Banded Pack 2X Sunscreen Multi 50+ 236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291.91</c:v>
                </c:pt>
                <c:pt idx="1">
                  <c:v>292.61</c:v>
                </c:pt>
                <c:pt idx="2">
                  <c:v>312.46</c:v>
                </c:pt>
                <c:pt idx="3">
                  <c:v>314.98</c:v>
                </c:pt>
                <c:pt idx="4">
                  <c:v>323.42</c:v>
                </c:pt>
                <c:pt idx="5">
                  <c:v>286.78</c:v>
                </c:pt>
                <c:pt idx="6">
                  <c:v>309.18</c:v>
                </c:pt>
                <c:pt idx="7">
                  <c:v>105.11</c:v>
                </c:pt>
                <c:pt idx="8">
                  <c:v>295.5</c:v>
                </c:pt>
                <c:pt idx="9">
                  <c:v>286.35</c:v>
                </c:pt>
                <c:pt idx="10">
                  <c:v>274.64</c:v>
                </c:pt>
                <c:pt idx="11">
                  <c:v>320.31</c:v>
                </c:pt>
                <c:pt idx="12">
                  <c:v>266.75</c:v>
                </c:pt>
                <c:pt idx="13">
                  <c:v>148.93</c:v>
                </c:pt>
                <c:pt idx="14">
                  <c:v>279.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8.97</a:t>
                    </a:r>
                  </a:p>
                </c:rich>
              </c:tx>
              <c:dLblPos val="t"/>
              <c:showLegendKey val="0"/>
              <c:showVal val="1"/>
              <c:showCatName val="0"/>
              <c:showSerName val="0"/>
              <c:showPercent val="0"/>
              <c:showBubbleSize val="0"/>
            </c:dLbl>
            <c:dLbl>
              <c:idx val="1"/>
              <c:tx>
                <c:rich>
                  <a:bodyPr/>
                  <a:lstStyle/>
                  <a:p>
                    <a:r>
                      <a:t>327.72</a:t>
                    </a:r>
                  </a:p>
                </c:rich>
              </c:tx>
              <c:dLblPos val="t"/>
              <c:showLegendKey val="0"/>
              <c:showVal val="1"/>
              <c:showCatName val="0"/>
              <c:showSerName val="0"/>
              <c:showPercent val="0"/>
              <c:showBubbleSize val="0"/>
            </c:dLbl>
            <c:dLbl>
              <c:idx val="2"/>
              <c:tx>
                <c:rich>
                  <a:bodyPr/>
                  <a:lstStyle/>
                  <a:p>
                    <a:r>
                      <a:t>338.35</a:t>
                    </a:r>
                  </a:p>
                </c:rich>
              </c:tx>
              <c:dLblPos val="t"/>
              <c:showLegendKey val="0"/>
              <c:showVal val="1"/>
              <c:showCatName val="0"/>
              <c:showSerName val="0"/>
              <c:showPercent val="0"/>
              <c:showBubbleSize val="0"/>
            </c:dLbl>
            <c:dLbl>
              <c:idx val="3"/>
              <c:tx>
                <c:rich>
                  <a:bodyPr/>
                  <a:lstStyle/>
                  <a:p>
                    <a:r>
                      <a:t>322.45</a:t>
                    </a:r>
                  </a:p>
                </c:rich>
              </c:tx>
              <c:dLblPos val="t"/>
              <c:showLegendKey val="0"/>
              <c:showVal val="1"/>
              <c:showCatName val="0"/>
              <c:showSerName val="0"/>
              <c:showPercent val="0"/>
              <c:showBubbleSize val="0"/>
            </c:dLbl>
            <c:dLbl>
              <c:idx val="4"/>
              <c:tx>
                <c:rich>
                  <a:bodyPr/>
                  <a:lstStyle/>
                  <a:p>
                    <a:r>
                      <a:t>332.96</a:t>
                    </a:r>
                  </a:p>
                </c:rich>
              </c:tx>
              <c:dLblPos val="t"/>
              <c:showLegendKey val="0"/>
              <c:showVal val="1"/>
              <c:showCatName val="0"/>
              <c:showSerName val="0"/>
              <c:showPercent val="0"/>
              <c:showBubbleSize val="0"/>
            </c:dLbl>
            <c:dLbl>
              <c:idx val="5"/>
              <c:tx>
                <c:rich>
                  <a:bodyPr/>
                  <a:lstStyle/>
                  <a:p>
                    <a:r>
                      <a:t>81.09</a:t>
                    </a:r>
                  </a:p>
                </c:rich>
              </c:tx>
              <c:dLblPos val="t"/>
              <c:showLegendKey val="0"/>
              <c:showVal val="1"/>
              <c:showCatName val="0"/>
              <c:showSerName val="0"/>
              <c:showPercent val="0"/>
              <c:showBubbleSize val="0"/>
            </c:dLbl>
            <c:dLbl>
              <c:idx val="6"/>
              <c:tx>
                <c:rich>
                  <a:bodyPr/>
                  <a:lstStyle/>
                  <a:p>
                    <a:r>
                      <a:t>319.96</a:t>
                    </a:r>
                  </a:p>
                </c:rich>
              </c:tx>
              <c:dLblPos val="t"/>
              <c:showLegendKey val="0"/>
              <c:showVal val="1"/>
              <c:showCatName val="0"/>
              <c:showSerName val="0"/>
              <c:showPercent val="0"/>
              <c:showBubbleSize val="0"/>
            </c:dLbl>
            <c:dLbl>
              <c:idx val="7"/>
              <c:tx>
                <c:rich>
                  <a:bodyPr/>
                  <a:lstStyle/>
                  <a:p>
                    <a:r>
                      <a:t>303.93</a:t>
                    </a:r>
                  </a:p>
                </c:rich>
              </c:tx>
              <c:dLblPos val="t"/>
              <c:showLegendKey val="0"/>
              <c:showVal val="1"/>
              <c:showCatName val="0"/>
              <c:showSerName val="0"/>
              <c:showPercent val="0"/>
              <c:showBubbleSize val="0"/>
            </c:dLbl>
            <c:dLbl>
              <c:idx val="8"/>
              <c:tx>
                <c:rich>
                  <a:bodyPr/>
                  <a:lstStyle/>
                  <a:p>
                    <a:r>
                      <a:t>337.37</a:t>
                    </a:r>
                  </a:p>
                </c:rich>
              </c:tx>
              <c:dLblPos val="t"/>
              <c:showLegendKey val="0"/>
              <c:showVal val="1"/>
              <c:showCatName val="0"/>
              <c:showSerName val="0"/>
              <c:showPercent val="0"/>
              <c:showBubbleSize val="0"/>
            </c:dLbl>
            <c:dLbl>
              <c:idx val="9"/>
              <c:tx>
                <c:rich>
                  <a:bodyPr/>
                  <a:lstStyle/>
                  <a:p>
                    <a:r>
                      <a:t>345.63</a:t>
                    </a:r>
                  </a:p>
                </c:rich>
              </c:tx>
              <c:dLblPos val="t"/>
              <c:showLegendKey val="0"/>
              <c:showVal val="1"/>
              <c:showCatName val="0"/>
              <c:showSerName val="0"/>
              <c:showPercent val="0"/>
              <c:showBubbleSize val="0"/>
            </c:dLbl>
            <c:dLbl>
              <c:idx val="10"/>
              <c:tx>
                <c:rich>
                  <a:bodyPr/>
                  <a:lstStyle/>
                  <a:p>
                    <a:r>
                      <a:t>398.73</a:t>
                    </a:r>
                  </a:p>
                </c:rich>
              </c:tx>
              <c:dLblPos val="t"/>
              <c:showLegendKey val="0"/>
              <c:showVal val="1"/>
              <c:showCatName val="0"/>
              <c:showSerName val="0"/>
              <c:showPercent val="0"/>
              <c:showBubbleSize val="0"/>
            </c:dLbl>
            <c:dLbl>
              <c:idx val="11"/>
              <c:tx>
                <c:rich>
                  <a:bodyPr/>
                  <a:lstStyle/>
                  <a:p>
                    <a:r>
                      <a:t>343.91</a:t>
                    </a:r>
                  </a:p>
                </c:rich>
              </c:tx>
              <c:dLblPos val="t"/>
              <c:showLegendKey val="0"/>
              <c:showVal val="1"/>
              <c:showCatName val="0"/>
              <c:showSerName val="0"/>
              <c:showPercent val="0"/>
              <c:showBubbleSize val="0"/>
            </c:dLbl>
            <c:dLbl>
              <c:idx val="12"/>
              <c:tx>
                <c:rich>
                  <a:bodyPr/>
                  <a:lstStyle/>
                  <a:p>
                    <a:r>
                      <a:t>102.13</a:t>
                    </a:r>
                  </a:p>
                </c:rich>
              </c:tx>
              <c:dLblPos val="t"/>
              <c:showLegendKey val="0"/>
              <c:showVal val="1"/>
              <c:showCatName val="0"/>
              <c:showSerName val="0"/>
              <c:showPercent val="0"/>
              <c:showBubbleSize val="0"/>
            </c:dLbl>
            <c:dLbl>
              <c:idx val="13"/>
              <c:tx>
                <c:rich>
                  <a:bodyPr/>
                  <a:lstStyle/>
                  <a:p>
                    <a:r>
                      <a:t>156.76</a:t>
                    </a:r>
                  </a:p>
                </c:rich>
              </c:tx>
              <c:dLblPos val="t"/>
              <c:showLegendKey val="0"/>
              <c:showVal val="1"/>
              <c:showCatName val="0"/>
              <c:showSerName val="0"/>
              <c:showPercent val="0"/>
              <c:showBubbleSize val="0"/>
            </c:dLbl>
            <c:dLbl>
              <c:idx val="14"/>
              <c:tx>
                <c:rich>
                  <a:bodyPr/>
                  <a:lstStyle/>
                  <a:p>
                    <a:r>
                      <a:t>271.1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Banana Boat Aqua Protect Sunscreen Adults Cosmetics Spray Liquido 50+ 170Ml</c:v>
                </c:pt>
                <c:pt idx="2">
                  <c:v>Edgewell Hawaiian Tropic Island Sport Sunscreen Adults Sport Spray Liquido 50 220Ml</c:v>
                </c:pt>
                <c:pt idx="3">
                  <c:v>Edgewell Hawaiian Tropic Island Sport Sunscreen Adults Sport Liquido 50 240Ml</c:v>
                </c:pt>
                <c:pt idx="4">
                  <c:v>Edgewell Banana Boat Dry Balance Sunscreen Adults Sport Spray Liquido 50 220Ml</c:v>
                </c:pt>
                <c:pt idx="5">
                  <c:v>Edgewell Banana Boat Advanced Protection Sunscreen Adults Cosmetics Liquido 50+ 60Ml</c:v>
                </c:pt>
                <c:pt idx="6">
                  <c:v>Edgewell Banana Boat Advanced Protection Sunscreen Adults Cosmetics Liquido 50+ 240Ml</c:v>
                </c:pt>
                <c:pt idx="7">
                  <c:v>Edgewell Hawaiian Tropic Other Sunscreen Adults Cosmetics Crema 50+ 240Ml</c:v>
                </c:pt>
                <c:pt idx="8">
                  <c:v>Edgewell Banana Boat Aqua Protect Sunscreen Adults Sport Crema 50+ 236Ml</c:v>
                </c:pt>
                <c:pt idx="9">
                  <c:v>Edgewell Banana Boat Mineral Sunscreen Kids Cosmetics Locion 50 180Ml</c:v>
                </c:pt>
                <c:pt idx="10">
                  <c:v>Edgewell Banana Boat Banded Pack Banded Pack 2X Sunscreen Multi 50+ 170Ml</c:v>
                </c:pt>
                <c:pt idx="11">
                  <c:v>Edgewell Banana Boat Mineral Sunscreen Adults Sport Locion 50 180Ml</c:v>
                </c:pt>
                <c:pt idx="12">
                  <c:v>Edgewell Banana Boat Dry Balance Sunscreen Adults Sport Locion 50+ 60Ml</c:v>
                </c:pt>
                <c:pt idx="13">
                  <c:v>Edgewell Banana Boat After Sun After Sun Adults Cosmetics Gel 0 - 5 230Ml</c:v>
                </c:pt>
                <c:pt idx="14">
                  <c:v>Edgewell Hawaiian Tropic Tanning Tanning Adults Cosmetics Spray Aceite 0 - 5 240Ml</c:v>
                </c:pt>
              </c:strCache>
            </c:strRef>
          </c:cat>
          <c:val>
            <c:numRef>
              <c:f>Sheet1!$B$2:$B$16</c:f>
              <c:numCache>
                <c:formatCode>General</c:formatCode>
                <c:ptCount val="15"/>
                <c:pt idx="0">
                  <c:v>308.97</c:v>
                </c:pt>
                <c:pt idx="1">
                  <c:v>327.72</c:v>
                </c:pt>
                <c:pt idx="2">
                  <c:v>338.35</c:v>
                </c:pt>
                <c:pt idx="3">
                  <c:v>322.45</c:v>
                </c:pt>
                <c:pt idx="4">
                  <c:v>332.96</c:v>
                </c:pt>
                <c:pt idx="5">
                  <c:v>81.09</c:v>
                </c:pt>
                <c:pt idx="6">
                  <c:v>319.96</c:v>
                </c:pt>
                <c:pt idx="7">
                  <c:v>303.93</c:v>
                </c:pt>
                <c:pt idx="8">
                  <c:v>337.37</c:v>
                </c:pt>
                <c:pt idx="9">
                  <c:v>345.63</c:v>
                </c:pt>
                <c:pt idx="10">
                  <c:v>398.73</c:v>
                </c:pt>
                <c:pt idx="11">
                  <c:v>343.91</c:v>
                </c:pt>
                <c:pt idx="12">
                  <c:v>102.13</c:v>
                </c:pt>
                <c:pt idx="13">
                  <c:v>156.76</c:v>
                </c:pt>
                <c:pt idx="14">
                  <c:v>271.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dLblPos val="t"/>
              <c:showLegendKey val="0"/>
              <c:showVal val="1"/>
              <c:showCatName val="0"/>
              <c:showSerName val="0"/>
              <c:showPercent val="0"/>
              <c:showBubbleSize val="0"/>
            </c:dLbl>
            <c:dLbl>
              <c:idx val="1"/>
              <c:tx>
                <c:rich>
                  <a:bodyPr/>
                  <a:lstStyle/>
                  <a:p>
                    <a:r>
                      <a:t>250.75</a:t>
                    </a:r>
                  </a:p>
                </c:rich>
              </c:tx>
              <c:dLblPos val="t"/>
              <c:showLegendKey val="0"/>
              <c:showVal val="1"/>
              <c:showCatName val="0"/>
              <c:showSerName val="0"/>
              <c:showPercent val="0"/>
              <c:showBubbleSize val="0"/>
            </c:dLbl>
            <c:dLbl>
              <c:idx val="2"/>
              <c:tx>
                <c:rich>
                  <a:bodyPr/>
                  <a:lstStyle/>
                  <a:p>
                    <a:r>
                      <a:t>268.66</a:t>
                    </a:r>
                  </a:p>
                </c:rich>
              </c:tx>
              <c:dLblPos val="t"/>
              <c:showLegendKey val="0"/>
              <c:showVal val="1"/>
              <c:showCatName val="0"/>
              <c:showSerName val="0"/>
              <c:showPercent val="0"/>
              <c:showBubbleSize val="0"/>
            </c:dLbl>
            <c:dLbl>
              <c:idx val="3"/>
              <c:tx>
                <c:rich>
                  <a:bodyPr/>
                  <a:lstStyle/>
                  <a:p>
                    <a:r>
                      <a:t>93.72</a:t>
                    </a:r>
                  </a:p>
                </c:rich>
              </c:tx>
              <c:dLblPos val="t"/>
              <c:showLegendKey val="0"/>
              <c:showVal val="1"/>
              <c:showCatName val="0"/>
              <c:showSerName val="0"/>
              <c:showPercent val="0"/>
              <c:showBubbleSize val="0"/>
            </c:dLbl>
            <c:dLbl>
              <c:idx val="4"/>
              <c:tx>
                <c:rich>
                  <a:bodyPr/>
                  <a:lstStyle/>
                  <a:p>
                    <a:r>
                      <a:t>248.86</a:t>
                    </a:r>
                  </a:p>
                </c:rich>
              </c:tx>
              <c:dLblPos val="t"/>
              <c:showLegendKey val="0"/>
              <c:showVal val="1"/>
              <c:showCatName val="0"/>
              <c:showSerName val="0"/>
              <c:showPercent val="0"/>
              <c:showBubbleSize val="0"/>
            </c:dLbl>
            <c:dLbl>
              <c:idx val="5"/>
              <c:tx>
                <c:rich>
                  <a:bodyPr/>
                  <a:lstStyle/>
                  <a:p>
                    <a:r>
                      <a:t>253.23</a:t>
                    </a:r>
                  </a:p>
                </c:rich>
              </c:tx>
              <c:dLblPos val="t"/>
              <c:showLegendKey val="0"/>
              <c:showVal val="1"/>
              <c:showCatName val="0"/>
              <c:showSerName val="0"/>
              <c:showPercent val="0"/>
              <c:showBubbleSize val="0"/>
            </c:dLbl>
            <c:dLbl>
              <c:idx val="6"/>
              <c:tx>
                <c:rich>
                  <a:bodyPr/>
                  <a:lstStyle/>
                  <a:p>
                    <a:r>
                      <a:t>281.29</a:t>
                    </a:r>
                  </a:p>
                </c:rich>
              </c:tx>
              <c:dLblPos val="t"/>
              <c:showLegendKey val="0"/>
              <c:showVal val="1"/>
              <c:showCatName val="0"/>
              <c:showSerName val="0"/>
              <c:showPercent val="0"/>
              <c:showBubbleSize val="0"/>
            </c:dLbl>
            <c:dLbl>
              <c:idx val="7"/>
              <c:tx>
                <c:rich>
                  <a:bodyPr/>
                  <a:lstStyle/>
                  <a:p>
                    <a:r>
                      <a:t>72.25</a:t>
                    </a:r>
                  </a:p>
                </c:rich>
              </c:tx>
              <c:dLblPos val="t"/>
              <c:showLegendKey val="0"/>
              <c:showVal val="1"/>
              <c:showCatName val="0"/>
              <c:showSerName val="0"/>
              <c:showPercent val="0"/>
              <c:showBubbleSize val="0"/>
            </c:dLbl>
            <c:dLbl>
              <c:idx val="8"/>
              <c:tx>
                <c:rich>
                  <a:bodyPr/>
                  <a:lstStyle/>
                  <a:p>
                    <a:r>
                      <a:t>247.96</a:t>
                    </a:r>
                  </a:p>
                </c:rich>
              </c:tx>
              <c:dLblPos val="t"/>
              <c:showLegendKey val="0"/>
              <c:showVal val="1"/>
              <c:showCatName val="0"/>
              <c:showSerName val="0"/>
              <c:showPercent val="0"/>
              <c:showBubbleSize val="0"/>
            </c:dLbl>
            <c:dLbl>
              <c:idx val="9"/>
              <c:tx>
                <c:rich>
                  <a:bodyPr/>
                  <a:lstStyle/>
                  <a:p>
                    <a:r>
                      <a:t>133.0</a:t>
                    </a:r>
                  </a:p>
                </c:rich>
              </c:tx>
              <c:dLblPos val="t"/>
              <c:showLegendKey val="0"/>
              <c:showVal val="1"/>
              <c:showCatName val="0"/>
              <c:showSerName val="0"/>
              <c:showPercent val="0"/>
              <c:showBubbleSize val="0"/>
            </c:dLbl>
            <c:dLbl>
              <c:idx val="10"/>
              <c:tx>
                <c:rich>
                  <a:bodyPr/>
                  <a:lstStyle/>
                  <a:p>
                    <a:r>
                      <a:t>310.56</a:t>
                    </a:r>
                  </a:p>
                </c:rich>
              </c:tx>
              <c:dLblPos val="t"/>
              <c:showLegendKey val="0"/>
              <c:showVal val="1"/>
              <c:showCatName val="0"/>
              <c:showSerName val="0"/>
              <c:showPercent val="0"/>
              <c:showBubbleSize val="0"/>
            </c:dLbl>
            <c:dLbl>
              <c:idx val="11"/>
              <c:tx>
                <c:rich>
                  <a:bodyPr/>
                  <a:lstStyle/>
                  <a:p>
                    <a:r>
                      <a:t>220.0</a:t>
                    </a:r>
                  </a:p>
                </c:rich>
              </c:tx>
              <c:dLblPos val="t"/>
              <c:showLegendKey val="0"/>
              <c:showVal val="1"/>
              <c:showCatName val="0"/>
              <c:showSerName val="0"/>
              <c:showPercent val="0"/>
              <c:showBubbleSize val="0"/>
            </c:dLbl>
            <c:dLbl>
              <c:idx val="12"/>
              <c:tx>
                <c:rich>
                  <a:bodyPr/>
                  <a:lstStyle/>
                  <a:p>
                    <a:r>
                      <a:t>249.96</a:t>
                    </a:r>
                  </a:p>
                </c:rich>
              </c:tx>
              <c:dLblPos val="t"/>
              <c:showLegendKey val="0"/>
              <c:showVal val="1"/>
              <c:showCatName val="0"/>
              <c:showSerName val="0"/>
              <c:showPercent val="0"/>
              <c:showBubbleSize val="0"/>
            </c:dLbl>
            <c:dLbl>
              <c:idx val="13"/>
              <c:tx>
                <c:rich>
                  <a:bodyPr/>
                  <a:lstStyle/>
                  <a:p>
                    <a:r>
                      <a:t>175.6</a:t>
                    </a:r>
                  </a:p>
                </c:rich>
              </c:tx>
              <c:dLblPos val="t"/>
              <c:showLegendKey val="0"/>
              <c:showVal val="1"/>
              <c:showCatName val="0"/>
              <c:showSerName val="0"/>
              <c:showPercent val="0"/>
              <c:showBubbleSize val="0"/>
            </c:dLbl>
            <c:dLbl>
              <c:idx val="14"/>
              <c:tx>
                <c:rich>
                  <a:bodyPr/>
                  <a:lstStyle/>
                  <a:p>
                    <a:r>
                      <a:t>19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Cosmetics Crema 50+ 236Ml</c:v>
                </c:pt>
                <c:pt idx="1">
                  <c:v>Edgewell Hawaiian Tropic Other Sunscreen Adults Cosmetics Crema 50+ 240Ml</c:v>
                </c:pt>
                <c:pt idx="2">
                  <c:v>Edgewell Banana Boat Aqua Protect Sunscreen Adults Sport Crema 50+ 236Ml</c:v>
                </c:pt>
                <c:pt idx="3">
                  <c:v>Edgewell Banana Boat Advanced Protection Sunscreen Adults Cosmetics Liquido 50+ 60Ml</c:v>
                </c:pt>
                <c:pt idx="4">
                  <c:v>Edgewell Banana Boat Advanced Protection Sunscreen Adults Sport Liquido 50 180Ml</c:v>
                </c:pt>
                <c:pt idx="5">
                  <c:v>Edgewell Hawaiian Tropic Island Sport Sunscreen Adults Sport Liquido 50 240Ml</c:v>
                </c:pt>
                <c:pt idx="6">
                  <c:v>Edgewell Hawaiian Tropic Ozono Sunscreen Adults Cosmetics Liquido 50+ 180Ml</c:v>
                </c:pt>
                <c:pt idx="7">
                  <c:v>Edgewell Hawaiian Tropic Island Sport Sunscreen Adults Sport Liquido 50 60Ml</c:v>
                </c:pt>
                <c:pt idx="8">
                  <c:v>Edgewell Hawaiian Tropic Ozono Sunscreen Adults Cosmetics Liquido 50+ 240Ml</c:v>
                </c:pt>
                <c:pt idx="9">
                  <c:v>Edgewell Hawaiian Tropic Sheer Touch Sunscreen Adults Cosmetics Liquido 30 - 49 60Ml</c:v>
                </c:pt>
                <c:pt idx="10">
                  <c:v>Edgewell Banana Boat Banded Pack Banded Pack 2X Sunscreen Multi 50+ 170Ml</c:v>
                </c:pt>
                <c:pt idx="11">
                  <c:v>Edgewell Banana Boat Mineral Sunscreen Adults Sport Locion 50 180Ml</c:v>
                </c:pt>
                <c:pt idx="12">
                  <c:v>Edgewell Banana Boat Mineral Sunscreen Adults Cosmetics Locion 50 60Ml</c:v>
                </c:pt>
                <c:pt idx="13">
                  <c:v>Edgewell Hawaiian Tropic After Sun After Sun Adults Cosmetics Gel 0 - 5 240Ml</c:v>
                </c:pt>
                <c:pt idx="14">
                  <c:v>Edgewell Hawaiian Tropic After Sun After Sun Adults Cosmetics Crema 0 - 5 180Ml</c:v>
                </c:pt>
              </c:strCache>
            </c:strRef>
          </c:cat>
          <c:val>
            <c:numRef>
              <c:f>Sheet1!$B$2:$B$16</c:f>
              <c:numCache>
                <c:formatCode>General</c:formatCode>
                <c:ptCount val="15"/>
                <c:pt idx="0">
                  <c:v>240.0</c:v>
                </c:pt>
                <c:pt idx="1">
                  <c:v>250.75</c:v>
                </c:pt>
                <c:pt idx="2">
                  <c:v>268.66</c:v>
                </c:pt>
                <c:pt idx="3">
                  <c:v>93.72</c:v>
                </c:pt>
                <c:pt idx="4">
                  <c:v>248.86</c:v>
                </c:pt>
                <c:pt idx="5">
                  <c:v>253.23</c:v>
                </c:pt>
                <c:pt idx="6">
                  <c:v>281.29</c:v>
                </c:pt>
                <c:pt idx="7">
                  <c:v>72.25</c:v>
                </c:pt>
                <c:pt idx="8">
                  <c:v>247.96</c:v>
                </c:pt>
                <c:pt idx="9">
                  <c:v>133.0</c:v>
                </c:pt>
                <c:pt idx="10">
                  <c:v>310.56</c:v>
                </c:pt>
                <c:pt idx="11">
                  <c:v>220.0</c:v>
                </c:pt>
                <c:pt idx="12">
                  <c:v>249.96</c:v>
                </c:pt>
                <c:pt idx="13">
                  <c:v>175.6</c:v>
                </c:pt>
                <c:pt idx="14">
                  <c:v>19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85.73</a:t>
                    </a:r>
                  </a:p>
                </c:rich>
              </c:tx>
              <c:dLblPos val="t"/>
              <c:showLegendKey val="0"/>
              <c:showVal val="1"/>
              <c:showCatName val="0"/>
              <c:showSerName val="0"/>
              <c:showPercent val="0"/>
              <c:showBubbleSize val="0"/>
            </c:dLbl>
            <c:dLbl>
              <c:idx val="1"/>
              <c:tx>
                <c:rich>
                  <a:bodyPr/>
                  <a:lstStyle/>
                  <a:p>
                    <a:r>
                      <a:t>285.74</a:t>
                    </a:r>
                  </a:p>
                </c:rich>
              </c:tx>
              <c:dLblPos val="t"/>
              <c:showLegendKey val="0"/>
              <c:showVal val="1"/>
              <c:showCatName val="0"/>
              <c:showSerName val="0"/>
              <c:showPercent val="0"/>
              <c:showBubbleSize val="0"/>
            </c:dLbl>
            <c:dLbl>
              <c:idx val="2"/>
              <c:tx>
                <c:rich>
                  <a:bodyPr/>
                  <a:lstStyle/>
                  <a:p>
                    <a:r>
                      <a:t>104.26</a:t>
                    </a:r>
                  </a:p>
                </c:rich>
              </c:tx>
              <c:dLblPos val="t"/>
              <c:showLegendKey val="0"/>
              <c:showVal val="1"/>
              <c:showCatName val="0"/>
              <c:showSerName val="0"/>
              <c:showPercent val="0"/>
              <c:showBubbleSize val="0"/>
            </c:dLbl>
            <c:dLbl>
              <c:idx val="3"/>
              <c:tx>
                <c:rich>
                  <a:bodyPr/>
                  <a:lstStyle/>
                  <a:p>
                    <a:r>
                      <a:t>308.34</a:t>
                    </a:r>
                  </a:p>
                </c:rich>
              </c:tx>
              <c:dLblPos val="t"/>
              <c:showLegendKey val="0"/>
              <c:showVal val="1"/>
              <c:showCatName val="0"/>
              <c:showSerName val="0"/>
              <c:showPercent val="0"/>
              <c:showBubbleSize val="0"/>
            </c:dLbl>
            <c:dLbl>
              <c:idx val="4"/>
              <c:tx>
                <c:rich>
                  <a:bodyPr/>
                  <a:lstStyle/>
                  <a:p>
                    <a:r>
                      <a:t>308.61</a:t>
                    </a:r>
                  </a:p>
                </c:rich>
              </c:tx>
              <c:dLblPos val="t"/>
              <c:showLegendKey val="0"/>
              <c:showVal val="1"/>
              <c:showCatName val="0"/>
              <c:showSerName val="0"/>
              <c:showPercent val="0"/>
              <c:showBubbleSize val="0"/>
            </c:dLbl>
            <c:dLbl>
              <c:idx val="5"/>
              <c:tx>
                <c:rich>
                  <a:bodyPr/>
                  <a:lstStyle/>
                  <a:p>
                    <a:r>
                      <a:t>275.98</a:t>
                    </a:r>
                  </a:p>
                </c:rich>
              </c:tx>
              <c:dLblPos val="t"/>
              <c:showLegendKey val="0"/>
              <c:showVal val="1"/>
              <c:showCatName val="0"/>
              <c:showSerName val="0"/>
              <c:showPercent val="0"/>
              <c:showBubbleSize val="0"/>
            </c:dLbl>
            <c:dLbl>
              <c:idx val="6"/>
              <c:tx>
                <c:rich>
                  <a:bodyPr/>
                  <a:lstStyle/>
                  <a:p>
                    <a:r>
                      <a:t>309.91</a:t>
                    </a:r>
                  </a:p>
                </c:rich>
              </c:tx>
              <c:dLblPos val="t"/>
              <c:showLegendKey val="0"/>
              <c:showVal val="1"/>
              <c:showCatName val="0"/>
              <c:showSerName val="0"/>
              <c:showPercent val="0"/>
              <c:showBubbleSize val="0"/>
            </c:dLbl>
            <c:dLbl>
              <c:idx val="7"/>
              <c:tx>
                <c:rich>
                  <a:bodyPr/>
                  <a:lstStyle/>
                  <a:p>
                    <a:r>
                      <a:t>293.24</a:t>
                    </a:r>
                  </a:p>
                </c:rich>
              </c:tx>
              <c:dLblPos val="t"/>
              <c:showLegendKey val="0"/>
              <c:showVal val="1"/>
              <c:showCatName val="0"/>
              <c:showSerName val="0"/>
              <c:showPercent val="0"/>
              <c:showBubbleSize val="0"/>
            </c:dLbl>
            <c:dLbl>
              <c:idx val="8"/>
              <c:tx>
                <c:rich>
                  <a:bodyPr/>
                  <a:lstStyle/>
                  <a:p>
                    <a:r>
                      <a:t>294.75</a:t>
                    </a:r>
                  </a:p>
                </c:rich>
              </c:tx>
              <c:dLblPos val="t"/>
              <c:showLegendKey val="0"/>
              <c:showVal val="1"/>
              <c:showCatName val="0"/>
              <c:showSerName val="0"/>
              <c:showPercent val="0"/>
              <c:showBubbleSize val="0"/>
            </c:dLbl>
            <c:dLbl>
              <c:idx val="9"/>
              <c:tx>
                <c:rich>
                  <a:bodyPr/>
                  <a:lstStyle/>
                  <a:p>
                    <a:r>
                      <a:t>270.79</a:t>
                    </a:r>
                  </a:p>
                </c:rich>
              </c:tx>
              <c:dLblPos val="t"/>
              <c:showLegendKey val="0"/>
              <c:showVal val="1"/>
              <c:showCatName val="0"/>
              <c:showSerName val="0"/>
              <c:showPercent val="0"/>
              <c:showBubbleSize val="0"/>
            </c:dLbl>
            <c:dLbl>
              <c:idx val="10"/>
              <c:tx>
                <c:rich>
                  <a:bodyPr/>
                  <a:lstStyle/>
                  <a:p>
                    <a:r>
                      <a:t>271.52</a:t>
                    </a:r>
                  </a:p>
                </c:rich>
              </c:tx>
              <c:dLblPos val="t"/>
              <c:showLegendKey val="0"/>
              <c:showVal val="1"/>
              <c:showCatName val="0"/>
              <c:showSerName val="0"/>
              <c:showPercent val="0"/>
              <c:showBubbleSize val="0"/>
            </c:dLbl>
            <c:dLbl>
              <c:idx val="11"/>
              <c:tx>
                <c:rich>
                  <a:bodyPr/>
                  <a:lstStyle/>
                  <a:p>
                    <a:r>
                      <a:t>185.41</a:t>
                    </a:r>
                  </a:p>
                </c:rich>
              </c:tx>
              <c:dLblPos val="t"/>
              <c:showLegendKey val="0"/>
              <c:showVal val="1"/>
              <c:showCatName val="0"/>
              <c:showSerName val="0"/>
              <c:showPercent val="0"/>
              <c:showBubbleSize val="0"/>
            </c:dLbl>
            <c:dLbl>
              <c:idx val="12"/>
              <c:tx>
                <c:rich>
                  <a:bodyPr/>
                  <a:lstStyle/>
                  <a:p>
                    <a:r>
                      <a:t>281.66</a:t>
                    </a:r>
                  </a:p>
                </c:rich>
              </c:tx>
              <c:dLblPos val="t"/>
              <c:showLegendKey val="0"/>
              <c:showVal val="1"/>
              <c:showCatName val="0"/>
              <c:showSerName val="0"/>
              <c:showPercent val="0"/>
              <c:showBubbleSize val="0"/>
            </c:dLbl>
            <c:dLbl>
              <c:idx val="13"/>
              <c:tx>
                <c:rich>
                  <a:bodyPr/>
                  <a:lstStyle/>
                  <a:p>
                    <a:r>
                      <a:t>307.77</a:t>
                    </a:r>
                  </a:p>
                </c:rich>
              </c:tx>
              <c:dLblPos val="t"/>
              <c:showLegendKey val="0"/>
              <c:showVal val="1"/>
              <c:showCatName val="0"/>
              <c:showSerName val="0"/>
              <c:showPercent val="0"/>
              <c:showBubbleSize val="0"/>
            </c:dLbl>
            <c:dLbl>
              <c:idx val="14"/>
              <c:tx>
                <c:rich>
                  <a:bodyPr/>
                  <a:lstStyle/>
                  <a:p>
                    <a:r>
                      <a:t>26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Hawaiian Tropic Ozono Sunscreen Adults Cosmetics Liquido 50+ 90Ml</c:v>
                </c:pt>
                <c:pt idx="3">
                  <c:v>Edgewell Banana Boat Dry Balance Sunscreen Adults Sport Spray Liquido 50 220Ml</c:v>
                </c:pt>
                <c:pt idx="4">
                  <c:v>Edgewell Banana Boat Aqua Protect Sunscreen Adults Cosmetics Spray Liquido 50+ 170Ml</c:v>
                </c:pt>
                <c:pt idx="5">
                  <c:v>Edgewell Banana Boat Advanced Protection Sunscreen Adults Cosmetics Liquido 50+ 240Ml</c:v>
                </c:pt>
                <c:pt idx="6">
                  <c:v>Edgewell Hawaiian Tropic Ozono Sunscreen Adults Cosmetics Spray Liquido 50+ 180Ml</c:v>
                </c:pt>
                <c:pt idx="7">
                  <c:v>Edgewell Hawaiian Tropic Silk Hydration Sunscreen Adults Cosmetics Liquido 50 180Ml</c:v>
                </c:pt>
                <c:pt idx="8">
                  <c:v>Edgewell Hawaiian Tropic Other Sunscreen Adults Cosmetics Crema 50+ 240Ml</c:v>
                </c:pt>
                <c:pt idx="9">
                  <c:v>Edgewell Banana Boat Aqua Protect Sunscreen Adults Sport Crema 50+ 236Ml</c:v>
                </c:pt>
                <c:pt idx="10">
                  <c:v>Edgewell Banana Boat Aqua Protect Sunscreen Adults Cosmetics Crema 50+ 236Ml</c:v>
                </c:pt>
                <c:pt idx="11">
                  <c:v>Edgewell Hawaiian Tropic Sheer Touch Sunscreen Adults Cosmetics Crema 50 120Ml</c:v>
                </c:pt>
                <c:pt idx="12">
                  <c:v>Edgewell Hawaiian Tropic Sheer Touch Sunscreen Adults Cosmetics Crema 30 - 49 240Ml</c:v>
                </c:pt>
                <c:pt idx="13">
                  <c:v>Edgewell Banana Boat Banded Pack Banded Pack 2X Sunscreen Multi 50+ 170Ml</c:v>
                </c:pt>
                <c:pt idx="14">
                  <c:v>Edgewell Banana Boat Banded Pack Banded Pack 2X Sunscreen Multi 50+ 236Ml</c:v>
                </c:pt>
              </c:strCache>
            </c:strRef>
          </c:cat>
          <c:val>
            <c:numRef>
              <c:f>Sheet1!$B$2:$B$16</c:f>
              <c:numCache>
                <c:formatCode>General</c:formatCode>
                <c:ptCount val="15"/>
                <c:pt idx="0">
                  <c:v>285.73</c:v>
                </c:pt>
                <c:pt idx="1">
                  <c:v>285.74</c:v>
                </c:pt>
                <c:pt idx="2">
                  <c:v>104.26</c:v>
                </c:pt>
                <c:pt idx="3">
                  <c:v>308.34</c:v>
                </c:pt>
                <c:pt idx="4">
                  <c:v>308.61</c:v>
                </c:pt>
                <c:pt idx="5">
                  <c:v>275.98</c:v>
                </c:pt>
                <c:pt idx="6">
                  <c:v>309.91</c:v>
                </c:pt>
                <c:pt idx="7">
                  <c:v>293.24</c:v>
                </c:pt>
                <c:pt idx="8">
                  <c:v>294.75</c:v>
                </c:pt>
                <c:pt idx="9">
                  <c:v>270.79</c:v>
                </c:pt>
                <c:pt idx="10">
                  <c:v>271.52</c:v>
                </c:pt>
                <c:pt idx="11">
                  <c:v>185.41</c:v>
                </c:pt>
                <c:pt idx="12">
                  <c:v>281.66</c:v>
                </c:pt>
                <c:pt idx="13">
                  <c:v>307.77</c:v>
                </c:pt>
                <c:pt idx="14">
                  <c:v>26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301.59</a:t>
                    </a:r>
                  </a:p>
                </c:rich>
              </c:tx>
              <c:showLegendKey val="0"/>
              <c:showVal val="1"/>
              <c:showCatName val="0"/>
              <c:showSerName val="0"/>
              <c:showPercent val="0"/>
              <c:showBubbleSize val="0"/>
            </c:dLbl>
            <c:dLbl>
              <c:idx val="2"/>
              <c:tx>
                <c:rich>
                  <a:bodyPr/>
                  <a:lstStyle/>
                  <a:p>
                    <a:r>
                      <a:t>296.61</a:t>
                    </a:r>
                  </a:p>
                </c:rich>
              </c:tx>
              <c:showLegendKey val="0"/>
              <c:showVal val="1"/>
              <c:showCatName val="0"/>
              <c:showSerName val="0"/>
              <c:showPercent val="0"/>
              <c:showBubbleSize val="0"/>
            </c:dLbl>
            <c:dLbl>
              <c:idx val="3"/>
              <c:tx>
                <c:rich>
                  <a:bodyPr/>
                  <a:lstStyle/>
                  <a:p>
                    <a:r>
                      <a:t>305.15</a:t>
                    </a:r>
                  </a:p>
                </c:rich>
              </c:tx>
              <c:showLegendKey val="0"/>
              <c:showVal val="1"/>
              <c:showCatName val="0"/>
              <c:showSerName val="0"/>
              <c:showPercent val="0"/>
              <c:showBubbleSize val="0"/>
            </c:dLbl>
            <c:dLbl>
              <c:idx val="4"/>
              <c:tx>
                <c:rich>
                  <a:bodyPr/>
                  <a:lstStyle/>
                  <a:p>
                    <a:r>
                      <a:t>326.36</a:t>
                    </a:r>
                  </a:p>
                </c:rich>
              </c:tx>
              <c:showLegendKey val="0"/>
              <c:showVal val="1"/>
              <c:showCatName val="0"/>
              <c:showSerName val="0"/>
              <c:showPercent val="0"/>
              <c:showBubbleSize val="0"/>
            </c:dLbl>
            <c:dLbl>
              <c:idx val="5"/>
              <c:tx>
                <c:rich>
                  <a:bodyPr/>
                  <a:lstStyle/>
                  <a:p>
                    <a:r>
                      <a:t>276.8</a:t>
                    </a:r>
                  </a:p>
                </c:rich>
              </c:tx>
              <c:showLegendKey val="0"/>
              <c:showVal val="1"/>
              <c:showCatName val="0"/>
              <c:showSerName val="0"/>
              <c:showPercent val="0"/>
              <c:showBubbleSize val="0"/>
            </c:dLbl>
            <c:dLbl>
              <c:idx val="6"/>
              <c:tx>
                <c:rich>
                  <a:bodyPr/>
                  <a:lstStyle/>
                  <a:p>
                    <a:r>
                      <a:t>316.96</a:t>
                    </a:r>
                  </a:p>
                </c:rich>
              </c:tx>
              <c:showLegendKey val="0"/>
              <c:showVal val="1"/>
              <c:showCatName val="0"/>
              <c:showSerName val="0"/>
              <c:showPercent val="0"/>
              <c:showBubbleSize val="0"/>
            </c:dLbl>
            <c:dLbl>
              <c:idx val="7"/>
              <c:tx>
                <c:rich>
                  <a:bodyPr/>
                  <a:lstStyle/>
                  <a:p>
                    <a:r>
                      <a:t>301.21</a:t>
                    </a:r>
                  </a:p>
                </c:rich>
              </c:tx>
              <c:showLegendKey val="0"/>
              <c:showVal val="1"/>
              <c:showCatName val="0"/>
              <c:showSerName val="0"/>
              <c:showPercent val="0"/>
              <c:showBubbleSize val="0"/>
            </c:dLbl>
            <c:dLbl>
              <c:idx val="8"/>
              <c:tx>
                <c:rich>
                  <a:bodyPr/>
                  <a:lstStyle/>
                  <a:p>
                    <a:r>
                      <a:t>322.3</a:t>
                    </a:r>
                  </a:p>
                </c:rich>
              </c:tx>
              <c:showLegendKey val="0"/>
              <c:showVal val="1"/>
              <c:showCatName val="0"/>
              <c:showSerName val="0"/>
              <c:showPercent val="0"/>
              <c:showBubbleSize val="0"/>
            </c:dLbl>
            <c:dLbl>
              <c:idx val="9"/>
              <c:tx>
                <c:rich>
                  <a:bodyPr/>
                  <a:lstStyle/>
                  <a:p>
                    <a:r>
                      <a:t>186.86</a:t>
                    </a:r>
                  </a:p>
                </c:rich>
              </c:tx>
              <c:showLegendKey val="0"/>
              <c:showVal val="1"/>
              <c:showCatName val="0"/>
              <c:showSerName val="0"/>
              <c:showPercent val="0"/>
              <c:showBubbleSize val="0"/>
            </c:dLbl>
            <c:dLbl>
              <c:idx val="10"/>
              <c:tx>
                <c:rich>
                  <a:bodyPr/>
                  <a:lstStyle/>
                  <a:p>
                    <a:r>
                      <a:t>635.69</a:t>
                    </a:r>
                  </a:p>
                </c:rich>
              </c:tx>
              <c:showLegendKey val="0"/>
              <c:showVal val="1"/>
              <c:showCatName val="0"/>
              <c:showSerName val="0"/>
              <c:showPercent val="0"/>
              <c:showBubbleSize val="0"/>
            </c:dLbl>
            <c:dLbl>
              <c:idx val="11"/>
              <c:tx>
                <c:rich>
                  <a:bodyPr/>
                  <a:lstStyle/>
                  <a:p>
                    <a:r>
                      <a:t>636.86</a:t>
                    </a:r>
                  </a:p>
                </c:rich>
              </c:tx>
              <c:showLegendKey val="0"/>
              <c:showVal val="1"/>
              <c:showCatName val="0"/>
              <c:showSerName val="0"/>
              <c:showPercent val="0"/>
              <c:showBubbleSize val="0"/>
            </c:dLbl>
            <c:dLbl>
              <c:idx val="12"/>
              <c:tx>
                <c:rich>
                  <a:bodyPr/>
                  <a:lstStyle/>
                  <a:p>
                    <a:r>
                      <a:t>646.75</a:t>
                    </a:r>
                  </a:p>
                </c:rich>
              </c:tx>
              <c:showLegendKey val="0"/>
              <c:showVal val="1"/>
              <c:showCatName val="0"/>
              <c:showSerName val="0"/>
              <c:showPercent val="0"/>
              <c:showBubbleSize val="0"/>
            </c:dLbl>
            <c:dLbl>
              <c:idx val="13"/>
              <c:tx>
                <c:rich>
                  <a:bodyPr/>
                  <a:lstStyle/>
                  <a:p>
                    <a:r>
                      <a:t>665.28</a:t>
                    </a:r>
                  </a:p>
                </c:rich>
              </c:tx>
              <c:showLegendKey val="0"/>
              <c:showVal val="1"/>
              <c:showCatName val="0"/>
              <c:showSerName val="0"/>
              <c:showPercent val="0"/>
              <c:showBubbleSize val="0"/>
            </c:dLbl>
            <c:dLbl>
              <c:idx val="14"/>
              <c:tx>
                <c:rich>
                  <a:bodyPr/>
                  <a:lstStyle/>
                  <a:p>
                    <a:r>
                      <a:t>462.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Beiersdorf Nivea Sunscreen Adults Cosmetics Crema 50 50Ml</c:v>
                </c:pt>
                <c:pt idx="6">
                  <c:v>Beiersdorf Nivea Sunscreen Adults Cosmetics Crema 50+ 200Ml</c:v>
                </c:pt>
                <c:pt idx="7">
                  <c:v>Beiersdorf Nivea Sunscreen Adults Cosmetics Liquido 50 200Ml</c:v>
                </c:pt>
                <c:pt idx="8">
                  <c:v>Beiersdorf Nivea Sunscreen Adults Cosmetics Gel 50+ 200Ml</c:v>
                </c:pt>
                <c:pt idx="9">
                  <c:v>Beiersdorf Nivea Sunscreen Adults Cosmetics Liquido 50+ 125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strCache>
            </c:strRef>
          </c:cat>
          <c:val>
            <c:numRef>
              <c:f>Sheet1!$B$2:$B$16</c:f>
              <c:numCache>
                <c:formatCode>General</c:formatCode>
                <c:ptCount val="15"/>
                <c:pt idx="0">
                  <c:v>302.7</c:v>
                </c:pt>
                <c:pt idx="1">
                  <c:v>301.59</c:v>
                </c:pt>
                <c:pt idx="2">
                  <c:v>296.61</c:v>
                </c:pt>
                <c:pt idx="3">
                  <c:v>305.15</c:v>
                </c:pt>
                <c:pt idx="4">
                  <c:v>326.36</c:v>
                </c:pt>
                <c:pt idx="5">
                  <c:v>276.8</c:v>
                </c:pt>
                <c:pt idx="6">
                  <c:v>316.96</c:v>
                </c:pt>
                <c:pt idx="7">
                  <c:v>301.21</c:v>
                </c:pt>
                <c:pt idx="8">
                  <c:v>322.3</c:v>
                </c:pt>
                <c:pt idx="9">
                  <c:v>186.86</c:v>
                </c:pt>
                <c:pt idx="10">
                  <c:v>635.69</c:v>
                </c:pt>
                <c:pt idx="11">
                  <c:v>636.86</c:v>
                </c:pt>
                <c:pt idx="12">
                  <c:v>646.75</c:v>
                </c:pt>
                <c:pt idx="13">
                  <c:v>665.28</c:v>
                </c:pt>
                <c:pt idx="14">
                  <c:v>46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8.86</a:t>
                    </a:r>
                  </a:p>
                </c:rich>
              </c:tx>
              <c:dLblPos val="t"/>
              <c:showLegendKey val="0"/>
              <c:showVal val="1"/>
              <c:showCatName val="0"/>
              <c:showSerName val="0"/>
              <c:showPercent val="0"/>
              <c:showBubbleSize val="0"/>
            </c:dLbl>
            <c:dLbl>
              <c:idx val="1"/>
              <c:tx>
                <c:rich>
                  <a:bodyPr/>
                  <a:lstStyle/>
                  <a:p>
                    <a:r>
                      <a:t>339.09</a:t>
                    </a:r>
                  </a:p>
                </c:rich>
              </c:tx>
              <c:dLblPos val="t"/>
              <c:showLegendKey val="0"/>
              <c:showVal val="1"/>
              <c:showCatName val="0"/>
              <c:showSerName val="0"/>
              <c:showPercent val="0"/>
              <c:showBubbleSize val="0"/>
            </c:dLbl>
            <c:dLbl>
              <c:idx val="2"/>
              <c:tx>
                <c:rich>
                  <a:bodyPr/>
                  <a:lstStyle/>
                  <a:p>
                    <a:r>
                      <a:t>330.54</a:t>
                    </a:r>
                  </a:p>
                </c:rich>
              </c:tx>
              <c:dLblPos val="t"/>
              <c:showLegendKey val="0"/>
              <c:showVal val="1"/>
              <c:showCatName val="0"/>
              <c:showSerName val="0"/>
              <c:showPercent val="0"/>
              <c:showBubbleSize val="0"/>
            </c:dLbl>
            <c:dLbl>
              <c:idx val="3"/>
              <c:tx>
                <c:rich>
                  <a:bodyPr/>
                  <a:lstStyle/>
                  <a:p>
                    <a:r>
                      <a:t>329.19</a:t>
                    </a:r>
                  </a:p>
                </c:rich>
              </c:tx>
              <c:dLblPos val="t"/>
              <c:showLegendKey val="0"/>
              <c:showVal val="1"/>
              <c:showCatName val="0"/>
              <c:showSerName val="0"/>
              <c:showPercent val="0"/>
              <c:showBubbleSize val="0"/>
            </c:dLbl>
            <c:dLbl>
              <c:idx val="4"/>
              <c:tx>
                <c:rich>
                  <a:bodyPr/>
                  <a:lstStyle/>
                  <a:p>
                    <a:r>
                      <a:t>91.75</a:t>
                    </a:r>
                  </a:p>
                </c:rich>
              </c:tx>
              <c:dLblPos val="t"/>
              <c:showLegendKey val="0"/>
              <c:showVal val="1"/>
              <c:showCatName val="0"/>
              <c:showSerName val="0"/>
              <c:showPercent val="0"/>
              <c:showBubbleSize val="0"/>
            </c:dLbl>
            <c:dLbl>
              <c:idx val="5"/>
              <c:tx>
                <c:rich>
                  <a:bodyPr/>
                  <a:lstStyle/>
                  <a:p>
                    <a:r>
                      <a:t>359.99</a:t>
                    </a:r>
                  </a:p>
                </c:rich>
              </c:tx>
              <c:dLblPos val="t"/>
              <c:showLegendKey val="0"/>
              <c:showVal val="1"/>
              <c:showCatName val="0"/>
              <c:showSerName val="0"/>
              <c:showPercent val="0"/>
              <c:showBubbleSize val="0"/>
            </c:dLbl>
            <c:dLbl>
              <c:idx val="6"/>
              <c:tx>
                <c:rich>
                  <a:bodyPr/>
                  <a:lstStyle/>
                  <a:p>
                    <a:r>
                      <a:t>417.8</a:t>
                    </a:r>
                  </a:p>
                </c:rich>
              </c:tx>
              <c:dLblPos val="t"/>
              <c:showLegendKey val="0"/>
              <c:showVal val="1"/>
              <c:showCatName val="0"/>
              <c:showSerName val="0"/>
              <c:showPercent val="0"/>
              <c:showBubbleSize val="0"/>
            </c:dLbl>
            <c:dLbl>
              <c:idx val="7"/>
              <c:tx>
                <c:rich>
                  <a:bodyPr/>
                  <a:lstStyle/>
                  <a:p>
                    <a:r>
                      <a:t>358.05</a:t>
                    </a:r>
                  </a:p>
                </c:rich>
              </c:tx>
              <c:dLblPos val="t"/>
              <c:showLegendKey val="0"/>
              <c:showVal val="1"/>
              <c:showCatName val="0"/>
              <c:showSerName val="0"/>
              <c:showPercent val="0"/>
              <c:showBubbleSize val="0"/>
            </c:dLbl>
            <c:dLbl>
              <c:idx val="8"/>
              <c:tx>
                <c:rich>
                  <a:bodyPr/>
                  <a:lstStyle/>
                  <a:p>
                    <a:r>
                      <a:t>362.05</a:t>
                    </a:r>
                  </a:p>
                </c:rich>
              </c:tx>
              <c:dLblPos val="t"/>
              <c:showLegendKey val="0"/>
              <c:showVal val="1"/>
              <c:showCatName val="0"/>
              <c:showSerName val="0"/>
              <c:showPercent val="0"/>
              <c:showBubbleSize val="0"/>
            </c:dLbl>
            <c:dLbl>
              <c:idx val="9"/>
              <c:tx>
                <c:rich>
                  <a:bodyPr/>
                  <a:lstStyle/>
                  <a:p>
                    <a:r>
                      <a:t>270.48</a:t>
                    </a:r>
                  </a:p>
                </c:rich>
              </c:tx>
              <c:dLblPos val="t"/>
              <c:showLegendKey val="0"/>
              <c:showVal val="1"/>
              <c:showCatName val="0"/>
              <c:showSerName val="0"/>
              <c:showPercent val="0"/>
              <c:showBubbleSize val="0"/>
            </c:dLbl>
            <c:dLbl>
              <c:idx val="10"/>
              <c:tx>
                <c:rich>
                  <a:bodyPr/>
                  <a:lstStyle/>
                  <a:p>
                    <a:r>
                      <a:t>88.14</a:t>
                    </a:r>
                  </a:p>
                </c:rich>
              </c:tx>
              <c:dLblPos val="t"/>
              <c:showLegendKey val="0"/>
              <c:showVal val="1"/>
              <c:showCatName val="0"/>
              <c:showSerName val="0"/>
              <c:showPercent val="0"/>
              <c:showBubbleSize val="0"/>
            </c:dLbl>
            <c:dLbl>
              <c:idx val="11"/>
              <c:tx>
                <c:rich>
                  <a:bodyPr/>
                  <a:lstStyle/>
                  <a:p>
                    <a:r>
                      <a:t>359.59</a:t>
                    </a:r>
                  </a:p>
                </c:rich>
              </c:tx>
              <c:dLblPos val="t"/>
              <c:showLegendKey val="0"/>
              <c:showVal val="1"/>
              <c:showCatName val="0"/>
              <c:showSerName val="0"/>
              <c:showPercent val="0"/>
              <c:showBubbleSize val="0"/>
            </c:dLbl>
            <c:dLbl>
              <c:idx val="12"/>
              <c:tx>
                <c:rich>
                  <a:bodyPr/>
                  <a:lstStyle/>
                  <a:p>
                    <a:r>
                      <a:t>341.27</a:t>
                    </a:r>
                  </a:p>
                </c:rich>
              </c:tx>
              <c:dLblPos val="t"/>
              <c:showLegendKey val="0"/>
              <c:showVal val="1"/>
              <c:showCatName val="0"/>
              <c:showSerName val="0"/>
              <c:showPercent val="0"/>
              <c:showBubbleSize val="0"/>
            </c:dLbl>
            <c:dLbl>
              <c:idx val="13"/>
              <c:tx>
                <c:rich>
                  <a:bodyPr/>
                  <a:lstStyle/>
                  <a:p>
                    <a:r>
                      <a:t>330.0</a:t>
                    </a:r>
                  </a:p>
                </c:rich>
              </c:tx>
              <c:dLblPos val="t"/>
              <c:showLegendKey val="0"/>
              <c:showVal val="1"/>
              <c:showCatName val="0"/>
              <c:showSerName val="0"/>
              <c:showPercent val="0"/>
              <c:showBubbleSize val="0"/>
            </c:dLbl>
            <c:dLbl>
              <c:idx val="14"/>
              <c:tx>
                <c:rich>
                  <a:bodyPr/>
                  <a:lstStyle/>
                  <a:p>
                    <a:r>
                      <a:t>159.6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Banana Boat Aqua Protect Sunscreen Adults Sport Crema 50+ 236Ml</c:v>
                </c:pt>
                <c:pt idx="1">
                  <c:v>Edgewell Banana Boat Aqua Protect Sunscreen Adults Cosmetics Spray Liquido 50+ 170Ml</c:v>
                </c:pt>
                <c:pt idx="2">
                  <c:v>Edgewell Banana Boat Advanced Protection Sunscreen Adults Cosmetics Liquido 50+ 240Ml</c:v>
                </c:pt>
                <c:pt idx="3">
                  <c:v>Edgewell Banana Boat Dry Balance Sunscreen Adults Sport Spray Liquido 50 220Ml</c:v>
                </c:pt>
                <c:pt idx="4">
                  <c:v>Edgewell Banana Boat Advanced Protection Sunscreen Adults Cosmetics Liquido 50+ 60Ml</c:v>
                </c:pt>
                <c:pt idx="5">
                  <c:v>Edgewell Banana Boat Mineral Sunscreen Kids Cosmetics Locion 50 180Ml</c:v>
                </c:pt>
                <c:pt idx="6">
                  <c:v>Edgewell Banana Boat Banded Pack Banded Pack 2X Sunscreen Multi 50+ 170Ml</c:v>
                </c:pt>
                <c:pt idx="7">
                  <c:v>Edgewell Banana Boat Mineral Sunscreen Adults Sport Locion 50 180Ml</c:v>
                </c:pt>
                <c:pt idx="8">
                  <c:v>Edgewell Banana Boat Mineral Sunscreen Adults Cosmetics Locion 50 180Ml</c:v>
                </c:pt>
                <c:pt idx="9">
                  <c:v>Edgewell Banana Boat Dry Balance Sunscreen Adults Cosmetics Spray Crema 50+ 220Ml</c:v>
                </c:pt>
                <c:pt idx="10">
                  <c:v>Edgewell Banana Boat Dry Balance Sunscreen Adults Sport Locion 50+ 60Ml</c:v>
                </c:pt>
                <c:pt idx="11">
                  <c:v>Edgewell Banana Boat Dry Balance Sunscreen Adults Sport Crema 50+ 180Ml</c:v>
                </c:pt>
                <c:pt idx="12">
                  <c:v>Edgewell Banana Boat Aqua Protect Sunscreen Adults Cosmetics Crema 50+ 236Ml</c:v>
                </c:pt>
                <c:pt idx="13">
                  <c:v>Edgewell Banana Boat Kids Sport Sunscreen Kids Cosmetics Crema 50 180Ml</c:v>
                </c:pt>
                <c:pt idx="14">
                  <c:v>Edgewell Banana Boat After Sun After Sun Adults Cosmetics Gel 0 - 5 230Ml</c:v>
                </c:pt>
              </c:strCache>
            </c:strRef>
          </c:cat>
          <c:val>
            <c:numRef>
              <c:f>Sheet1!$B$2:$B$16</c:f>
              <c:numCache>
                <c:formatCode>General</c:formatCode>
                <c:ptCount val="15"/>
                <c:pt idx="0">
                  <c:v>348.86</c:v>
                </c:pt>
                <c:pt idx="1">
                  <c:v>339.09</c:v>
                </c:pt>
                <c:pt idx="2">
                  <c:v>330.54</c:v>
                </c:pt>
                <c:pt idx="3">
                  <c:v>329.19</c:v>
                </c:pt>
                <c:pt idx="4">
                  <c:v>91.75</c:v>
                </c:pt>
                <c:pt idx="5">
                  <c:v>359.99</c:v>
                </c:pt>
                <c:pt idx="6">
                  <c:v>417.8</c:v>
                </c:pt>
                <c:pt idx="7">
                  <c:v>358.05</c:v>
                </c:pt>
                <c:pt idx="8">
                  <c:v>362.05</c:v>
                </c:pt>
                <c:pt idx="9">
                  <c:v>270.48</c:v>
                </c:pt>
                <c:pt idx="10">
                  <c:v>88.14</c:v>
                </c:pt>
                <c:pt idx="11">
                  <c:v>359.59</c:v>
                </c:pt>
                <c:pt idx="12">
                  <c:v>341.27</c:v>
                </c:pt>
                <c:pt idx="13">
                  <c:v>330.0</c:v>
                </c:pt>
                <c:pt idx="14">
                  <c:v>159.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306.84</a:t>
                    </a:r>
                  </a:p>
                </c:rich>
              </c:tx>
              <c:showLegendKey val="0"/>
              <c:showVal val="1"/>
              <c:showCatName val="0"/>
              <c:showSerName val="0"/>
              <c:showPercent val="0"/>
              <c:showBubbleSize val="0"/>
            </c:dLbl>
            <c:dLbl>
              <c:idx val="2"/>
              <c:tx>
                <c:rich>
                  <a:bodyPr/>
                  <a:lstStyle/>
                  <a:p>
                    <a:r>
                      <a:t>303.99</a:t>
                    </a:r>
                  </a:p>
                </c:rich>
              </c:tx>
              <c:showLegendKey val="0"/>
              <c:showVal val="1"/>
              <c:showCatName val="0"/>
              <c:showSerName val="0"/>
              <c:showPercent val="0"/>
              <c:showBubbleSize val="0"/>
            </c:dLbl>
            <c:dLbl>
              <c:idx val="3"/>
              <c:tx>
                <c:rich>
                  <a:bodyPr/>
                  <a:lstStyle/>
                  <a:p>
                    <a:r>
                      <a:t>308.69</a:t>
                    </a:r>
                  </a:p>
                </c:rich>
              </c:tx>
              <c:showLegendKey val="0"/>
              <c:showVal val="1"/>
              <c:showCatName val="0"/>
              <c:showSerName val="0"/>
              <c:showPercent val="0"/>
              <c:showBubbleSize val="0"/>
            </c:dLbl>
            <c:dLbl>
              <c:idx val="4"/>
              <c:tx>
                <c:rich>
                  <a:bodyPr/>
                  <a:lstStyle/>
                  <a:p>
                    <a:r>
                      <a:t>338.04</a:t>
                    </a:r>
                  </a:p>
                </c:rich>
              </c:tx>
              <c:showLegendKey val="0"/>
              <c:showVal val="1"/>
              <c:showCatName val="0"/>
              <c:showSerName val="0"/>
              <c:showPercent val="0"/>
              <c:showBubbleSize val="0"/>
            </c:dLbl>
            <c:dLbl>
              <c:idx val="5"/>
              <c:tx>
                <c:rich>
                  <a:bodyPr/>
                  <a:lstStyle/>
                  <a:p>
                    <a:r>
                      <a:t>281.56</a:t>
                    </a:r>
                  </a:p>
                </c:rich>
              </c:tx>
              <c:showLegendKey val="0"/>
              <c:showVal val="1"/>
              <c:showCatName val="0"/>
              <c:showSerName val="0"/>
              <c:showPercent val="0"/>
              <c:showBubbleSize val="0"/>
            </c:dLbl>
            <c:dLbl>
              <c:idx val="6"/>
              <c:tx>
                <c:rich>
                  <a:bodyPr/>
                  <a:lstStyle/>
                  <a:p>
                    <a:r>
                      <a:t>316.47</a:t>
                    </a:r>
                  </a:p>
                </c:rich>
              </c:tx>
              <c:showLegendKey val="0"/>
              <c:showVal val="1"/>
              <c:showCatName val="0"/>
              <c:showSerName val="0"/>
              <c:showPercent val="0"/>
              <c:showBubbleSize val="0"/>
            </c:dLbl>
            <c:dLbl>
              <c:idx val="7"/>
              <c:tx>
                <c:rich>
                  <a:bodyPr/>
                  <a:lstStyle/>
                  <a:p>
                    <a:r>
                      <a:t>312.72</a:t>
                    </a:r>
                  </a:p>
                </c:rich>
              </c:tx>
              <c:showLegendKey val="0"/>
              <c:showVal val="1"/>
              <c:showCatName val="0"/>
              <c:showSerName val="0"/>
              <c:showPercent val="0"/>
              <c:showBubbleSize val="0"/>
            </c:dLbl>
            <c:dLbl>
              <c:idx val="8"/>
              <c:tx>
                <c:rich>
                  <a:bodyPr/>
                  <a:lstStyle/>
                  <a:p>
                    <a:r>
                      <a:t>318.97</a:t>
                    </a:r>
                  </a:p>
                </c:rich>
              </c:tx>
              <c:showLegendKey val="0"/>
              <c:showVal val="1"/>
              <c:showCatName val="0"/>
              <c:showSerName val="0"/>
              <c:showPercent val="0"/>
              <c:showBubbleSize val="0"/>
            </c:dLbl>
            <c:dLbl>
              <c:idx val="9"/>
              <c:tx>
                <c:rich>
                  <a:bodyPr/>
                  <a:lstStyle/>
                  <a:p>
                    <a:r>
                      <a:t>186.09</a:t>
                    </a:r>
                  </a:p>
                </c:rich>
              </c:tx>
              <c:showLegendKey val="0"/>
              <c:showVal val="1"/>
              <c:showCatName val="0"/>
              <c:showSerName val="0"/>
              <c:showPercent val="0"/>
              <c:showBubbleSize val="0"/>
            </c:dLbl>
            <c:dLbl>
              <c:idx val="10"/>
              <c:tx>
                <c:rich>
                  <a:bodyPr/>
                  <a:lstStyle/>
                  <a:p>
                    <a:r>
                      <a:t>635.1</a:t>
                    </a:r>
                  </a:p>
                </c:rich>
              </c:tx>
              <c:showLegendKey val="0"/>
              <c:showVal val="1"/>
              <c:showCatName val="0"/>
              <c:showSerName val="0"/>
              <c:showPercent val="0"/>
              <c:showBubbleSize val="0"/>
            </c:dLbl>
            <c:dLbl>
              <c:idx val="11"/>
              <c:tx>
                <c:rich>
                  <a:bodyPr/>
                  <a:lstStyle/>
                  <a:p>
                    <a:r>
                      <a:t>641.3</a:t>
                    </a:r>
                  </a:p>
                </c:rich>
              </c:tx>
              <c:showLegendKey val="0"/>
              <c:showVal val="1"/>
              <c:showCatName val="0"/>
              <c:showSerName val="0"/>
              <c:showPercent val="0"/>
              <c:showBubbleSize val="0"/>
            </c:dLbl>
            <c:dLbl>
              <c:idx val="12"/>
              <c:tx>
                <c:rich>
                  <a:bodyPr/>
                  <a:lstStyle/>
                  <a:p>
                    <a:r>
                      <a:t>647.88</a:t>
                    </a:r>
                  </a:p>
                </c:rich>
              </c:tx>
              <c:showLegendKey val="0"/>
              <c:showVal val="1"/>
              <c:showCatName val="0"/>
              <c:showSerName val="0"/>
              <c:showPercent val="0"/>
              <c:showBubbleSize val="0"/>
            </c:dLbl>
            <c:dLbl>
              <c:idx val="13"/>
              <c:tx>
                <c:rich>
                  <a:bodyPr/>
                  <a:lstStyle/>
                  <a:p>
                    <a:r>
                      <a:t>648.86</a:t>
                    </a:r>
                  </a:p>
                </c:rich>
              </c:tx>
              <c:showLegendKey val="0"/>
              <c:showVal val="1"/>
              <c:showCatName val="0"/>
              <c:showSerName val="0"/>
              <c:showPercent val="0"/>
              <c:showBubbleSize val="0"/>
            </c:dLbl>
            <c:dLbl>
              <c:idx val="14"/>
              <c:tx>
                <c:rich>
                  <a:bodyPr/>
                  <a:lstStyle/>
                  <a:p>
                    <a:r>
                      <a:t>465.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Beiersdorf Nivea Sunscreen Adults Cosmetics Crema 50 50Ml</c:v>
                </c:pt>
                <c:pt idx="6">
                  <c:v>Beiersdorf Nivea Sunscreen Adults Cosmetics Crema 50+ 200Ml</c:v>
                </c:pt>
                <c:pt idx="7">
                  <c:v>Beiersdorf Nivea Sunscreen Adults Cosmetics Liquido 50 200Ml</c:v>
                </c:pt>
                <c:pt idx="8">
                  <c:v>Beiersdorf Nivea Sunscreen Adults Cosmetics Gel 50+ 200Ml</c:v>
                </c:pt>
                <c:pt idx="9">
                  <c:v>Beiersdorf Nivea Sunscreen Adults Cosmetics Liquido 50+ 125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strCache>
            </c:strRef>
          </c:cat>
          <c:val>
            <c:numRef>
              <c:f>Sheet1!$B$2:$B$16</c:f>
              <c:numCache>
                <c:formatCode>General</c:formatCode>
                <c:ptCount val="15"/>
                <c:pt idx="0">
                  <c:v>305.74</c:v>
                </c:pt>
                <c:pt idx="1">
                  <c:v>306.84</c:v>
                </c:pt>
                <c:pt idx="2">
                  <c:v>303.99</c:v>
                </c:pt>
                <c:pt idx="3">
                  <c:v>308.69</c:v>
                </c:pt>
                <c:pt idx="4">
                  <c:v>338.04</c:v>
                </c:pt>
                <c:pt idx="5">
                  <c:v>281.56</c:v>
                </c:pt>
                <c:pt idx="6">
                  <c:v>316.47</c:v>
                </c:pt>
                <c:pt idx="7">
                  <c:v>312.72</c:v>
                </c:pt>
                <c:pt idx="8">
                  <c:v>318.97</c:v>
                </c:pt>
                <c:pt idx="9">
                  <c:v>186.09</c:v>
                </c:pt>
                <c:pt idx="10">
                  <c:v>635.1</c:v>
                </c:pt>
                <c:pt idx="11">
                  <c:v>641.3</c:v>
                </c:pt>
                <c:pt idx="12">
                  <c:v>647.88</c:v>
                </c:pt>
                <c:pt idx="13">
                  <c:v>648.86</c:v>
                </c:pt>
                <c:pt idx="14">
                  <c:v>465.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2</a:t>
                    </a:r>
                  </a:p>
                </c:rich>
              </c:tx>
              <c:showLegendKey val="0"/>
              <c:showVal val="1"/>
              <c:showCatName val="0"/>
              <c:showSerName val="0"/>
              <c:showPercent val="0"/>
              <c:showBubbleSize val="0"/>
            </c:dLbl>
            <c:dLbl>
              <c:idx val="1"/>
              <c:tx>
                <c:rich>
                  <a:bodyPr/>
                  <a:lstStyle/>
                  <a:p>
                    <a:r>
                      <a:t>318.53</a:t>
                    </a:r>
                  </a:p>
                </c:rich>
              </c:tx>
              <c:showLegendKey val="0"/>
              <c:showVal val="1"/>
              <c:showCatName val="0"/>
              <c:showSerName val="0"/>
              <c:showPercent val="0"/>
              <c:showBubbleSize val="0"/>
            </c:dLbl>
            <c:dLbl>
              <c:idx val="2"/>
              <c:tx>
                <c:rich>
                  <a:bodyPr/>
                  <a:lstStyle/>
                  <a:p>
                    <a:r>
                      <a:t>348.86</a:t>
                    </a:r>
                  </a:p>
                </c:rich>
              </c:tx>
              <c:showLegendKey val="0"/>
              <c:showVal val="1"/>
              <c:showCatName val="0"/>
              <c:showSerName val="0"/>
              <c:showPercent val="0"/>
              <c:showBubbleSize val="0"/>
            </c:dLbl>
            <c:dLbl>
              <c:idx val="3"/>
              <c:tx>
                <c:rich>
                  <a:bodyPr/>
                  <a:lstStyle/>
                  <a:p>
                    <a:r>
                      <a:t>159.67</a:t>
                    </a:r>
                  </a:p>
                </c:rich>
              </c:tx>
              <c:showLegendKey val="0"/>
              <c:showVal val="1"/>
              <c:showCatName val="0"/>
              <c:showSerName val="0"/>
              <c:showPercent val="0"/>
              <c:showBubbleSize val="0"/>
            </c:dLbl>
            <c:dLbl>
              <c:idx val="4"/>
              <c:tx>
                <c:rich>
                  <a:bodyPr/>
                  <a:lstStyle/>
                  <a:p>
                    <a:r>
                      <a:t>347.12</a:t>
                    </a:r>
                  </a:p>
                </c:rich>
              </c:tx>
              <c:showLegendKey val="0"/>
              <c:showVal val="1"/>
              <c:showCatName val="0"/>
              <c:showSerName val="0"/>
              <c:showPercent val="0"/>
              <c:showBubbleSize val="0"/>
            </c:dLbl>
            <c:dLbl>
              <c:idx val="5"/>
              <c:tx>
                <c:rich>
                  <a:bodyPr/>
                  <a:lstStyle/>
                  <a:p>
                    <a:r>
                      <a:t>655.36</a:t>
                    </a:r>
                  </a:p>
                </c:rich>
              </c:tx>
              <c:showLegendKey val="0"/>
              <c:showVal val="1"/>
              <c:showCatName val="0"/>
              <c:showSerName val="0"/>
              <c:showPercent val="0"/>
              <c:showBubbleSize val="0"/>
            </c:dLbl>
            <c:dLbl>
              <c:idx val="6"/>
              <c:tx>
                <c:rich>
                  <a:bodyPr/>
                  <a:lstStyle/>
                  <a:p>
                    <a:r>
                      <a:t>716.41</a:t>
                    </a:r>
                  </a:p>
                </c:rich>
              </c:tx>
              <c:showLegendKey val="0"/>
              <c:showVal val="1"/>
              <c:showCatName val="0"/>
              <c:showSerName val="0"/>
              <c:showPercent val="0"/>
              <c:showBubbleSize val="0"/>
            </c:dLbl>
            <c:dLbl>
              <c:idx val="7"/>
              <c:tx>
                <c:rich>
                  <a:bodyPr/>
                  <a:lstStyle/>
                  <a:p>
                    <a:r>
                      <a:t>315.86</a:t>
                    </a:r>
                  </a:p>
                </c:rich>
              </c:tx>
              <c:showLegendKey val="0"/>
              <c:showVal val="1"/>
              <c:showCatName val="0"/>
              <c:showSerName val="0"/>
              <c:showPercent val="0"/>
              <c:showBubbleSize val="0"/>
            </c:dLbl>
            <c:dLbl>
              <c:idx val="8"/>
              <c:tx>
                <c:rich>
                  <a:bodyPr/>
                  <a:lstStyle/>
                  <a:p>
                    <a:r>
                      <a:t>350.73</a:t>
                    </a:r>
                  </a:p>
                </c:rich>
              </c:tx>
              <c:showLegendKey val="0"/>
              <c:showVal val="1"/>
              <c:showCatName val="0"/>
              <c:showSerName val="0"/>
              <c:showPercent val="0"/>
              <c:showBubbleSize val="0"/>
            </c:dLbl>
            <c:dLbl>
              <c:idx val="9"/>
              <c:tx>
                <c:rich>
                  <a:bodyPr/>
                  <a:lstStyle/>
                  <a:p>
                    <a:r>
                      <a:t>695.61</a:t>
                    </a:r>
                  </a:p>
                </c:rich>
              </c:tx>
              <c:showLegendKey val="0"/>
              <c:showVal val="1"/>
              <c:showCatName val="0"/>
              <c:showSerName val="0"/>
              <c:showPercent val="0"/>
              <c:showBubbleSize val="0"/>
            </c:dLbl>
            <c:dLbl>
              <c:idx val="10"/>
              <c:tx>
                <c:rich>
                  <a:bodyPr/>
                  <a:lstStyle/>
                  <a:p>
                    <a:r>
                      <a:t>634.08</a:t>
                    </a:r>
                  </a:p>
                </c:rich>
              </c:tx>
              <c:showLegendKey val="0"/>
              <c:showVal val="1"/>
              <c:showCatName val="0"/>
              <c:showSerName val="0"/>
              <c:showPercent val="0"/>
              <c:showBubbleSize val="0"/>
            </c:dLbl>
            <c:dLbl>
              <c:idx val="11"/>
              <c:tx>
                <c:rich>
                  <a:bodyPr/>
                  <a:lstStyle/>
                  <a:p>
                    <a:r>
                      <a:t>642.22</a:t>
                    </a:r>
                  </a:p>
                </c:rich>
              </c:tx>
              <c:showLegendKey val="0"/>
              <c:showVal val="1"/>
              <c:showCatName val="0"/>
              <c:showSerName val="0"/>
              <c:showPercent val="0"/>
              <c:showBubbleSize val="0"/>
            </c:dLbl>
            <c:dLbl>
              <c:idx val="12"/>
              <c:tx>
                <c:rich>
                  <a:bodyPr/>
                  <a:lstStyle/>
                  <a:p>
                    <a:r>
                      <a:t>649.42</a:t>
                    </a:r>
                  </a:p>
                </c:rich>
              </c:tx>
              <c:showLegendKey val="0"/>
              <c:showVal val="1"/>
              <c:showCatName val="0"/>
              <c:showSerName val="0"/>
              <c:showPercent val="0"/>
              <c:showBubbleSize val="0"/>
            </c:dLbl>
            <c:dLbl>
              <c:idx val="13"/>
              <c:tx>
                <c:rich>
                  <a:bodyPr/>
                  <a:lstStyle/>
                  <a:p>
                    <a:r>
                      <a:t>652.94</a:t>
                    </a:r>
                  </a:p>
                </c:rich>
              </c:tx>
              <c:showLegendKey val="0"/>
              <c:showVal val="1"/>
              <c:showCatName val="0"/>
              <c:showSerName val="0"/>
              <c:showPercent val="0"/>
              <c:showBubbleSize val="0"/>
            </c:dLbl>
            <c:dLbl>
              <c:idx val="14"/>
              <c:tx>
                <c:rich>
                  <a:bodyPr/>
                  <a:lstStyle/>
                  <a:p>
                    <a:r>
                      <a:t>467.39</a:t>
                    </a:r>
                  </a:p>
                </c:rich>
              </c:tx>
              <c:showLegendKey val="0"/>
              <c:showVal val="1"/>
              <c:showCatName val="0"/>
              <c:showSerName val="0"/>
              <c:showPercent val="0"/>
              <c:showBubbleSize val="0"/>
            </c:dLbl>
            <c:dLbl>
              <c:idx val="15"/>
              <c:tx>
                <c:rich>
                  <a:bodyPr/>
                  <a:lstStyle/>
                  <a:p>
                    <a:r>
                      <a:t>633.08</a:t>
                    </a:r>
                  </a:p>
                </c:rich>
              </c:tx>
              <c:showLegendKey val="0"/>
              <c:showVal val="1"/>
              <c:showCatName val="0"/>
              <c:showSerName val="0"/>
              <c:showPercent val="0"/>
              <c:showBubbleSize val="0"/>
            </c:dLbl>
            <c:dLbl>
              <c:idx val="16"/>
              <c:tx>
                <c:rich>
                  <a:bodyPr/>
                  <a:lstStyle/>
                  <a:p>
                    <a:r>
                      <a:t>596.69</a:t>
                    </a:r>
                  </a:p>
                </c:rich>
              </c:tx>
              <c:showLegendKey val="0"/>
              <c:showVal val="1"/>
              <c:showCatName val="0"/>
              <c:showSerName val="0"/>
              <c:showPercent val="0"/>
              <c:showBubbleSize val="0"/>
            </c:dLbl>
            <c:dLbl>
              <c:idx val="17"/>
              <c:tx>
                <c:rich>
                  <a:bodyPr/>
                  <a:lstStyle/>
                  <a:p>
                    <a:r>
                      <a:t>601.16</a:t>
                    </a:r>
                  </a:p>
                </c:rich>
              </c:tx>
              <c:showLegendKey val="0"/>
              <c:showVal val="1"/>
              <c:showCatName val="0"/>
              <c:showSerName val="0"/>
              <c:showPercent val="0"/>
              <c:showBubbleSize val="0"/>
            </c:dLbl>
            <c:dLbl>
              <c:idx val="18"/>
              <c:tx>
                <c:rich>
                  <a:bodyPr/>
                  <a:lstStyle/>
                  <a:p>
                    <a:r>
                      <a:t>843.38</a:t>
                    </a:r>
                  </a:p>
                </c:rich>
              </c:tx>
              <c:showLegendKey val="0"/>
              <c:showVal val="1"/>
              <c:showCatName val="0"/>
              <c:showSerName val="0"/>
              <c:showPercent val="0"/>
              <c:showBubbleSize val="0"/>
            </c:dLbl>
            <c:dLbl>
              <c:idx val="19"/>
              <c:tx>
                <c:rich>
                  <a:bodyPr/>
                  <a:lstStyle/>
                  <a:p>
                    <a:r>
                      <a:t>900.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Banana Boat After Sun After Sun Adults Cosmetics Gel 0 - 5 230Ml</c:v>
                </c:pt>
                <c:pt idx="4">
                  <c:v>Edgewell Hawaiian Tropic Island Sport Sunscreen Adults Sport Spray Liquido 50 220Ml</c:v>
                </c:pt>
                <c:pt idx="5">
                  <c:v>Beiersdorf Eucerin Sunscreen Adults Derma Gel 50+ 50Ml</c:v>
                </c:pt>
                <c:pt idx="6">
                  <c:v>Beiersdorf Eucerin Sunscreen Adults Derma Crema 50+ 50Ml</c:v>
                </c:pt>
                <c:pt idx="7">
                  <c:v>Beiersdorf Nivea Sunscreen Adults Cosmetics Crema 50 50Ml</c:v>
                </c:pt>
                <c:pt idx="8">
                  <c:v>Beiersdorf Nivea Sunscreen Adults Cosmetics Liquido 50 200Ml</c:v>
                </c:pt>
                <c:pt idx="9">
                  <c:v>Beiersdorf Eucerin Sunscreen Adults Derma Gel-Crema 50+ 50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pt idx="15">
                  <c:v>L'Oreal La Roche-Posay Sunscreen Adults Derma Fluido 50+ 50Ml</c:v>
                </c:pt>
                <c:pt idx="16">
                  <c:v>L'Oreal La Roche-Posay Sunscreen Adults Derma Gel 50+ 50Ml</c:v>
                </c:pt>
                <c:pt idx="17">
                  <c:v>L'Oreal La Roche-Posay Sunscreen Adults Derma Crema 50 50Ml</c:v>
                </c:pt>
                <c:pt idx="18">
                  <c:v>L'Oreal La Roche-Posay Sunscreen Adults Derma Crema 50+ 50Ml</c:v>
                </c:pt>
                <c:pt idx="19">
                  <c:v>L'Oreal Vichy Sunscreen Adults Derma Crema 50 300Ml</c:v>
                </c:pt>
              </c:strCache>
            </c:strRef>
          </c:cat>
          <c:val>
            <c:numRef>
              <c:f>Sheet1!$B$2:$B$21</c:f>
              <c:numCache>
                <c:formatCode>General</c:formatCode>
                <c:ptCount val="20"/>
                <c:pt idx="0">
                  <c:v>305.32</c:v>
                </c:pt>
                <c:pt idx="1">
                  <c:v>318.53</c:v>
                </c:pt>
                <c:pt idx="2">
                  <c:v>348.86</c:v>
                </c:pt>
                <c:pt idx="3">
                  <c:v>159.67</c:v>
                </c:pt>
                <c:pt idx="4">
                  <c:v>347.12</c:v>
                </c:pt>
                <c:pt idx="5">
                  <c:v>655.36</c:v>
                </c:pt>
                <c:pt idx="6">
                  <c:v>716.41</c:v>
                </c:pt>
                <c:pt idx="7">
                  <c:v>315.86</c:v>
                </c:pt>
                <c:pt idx="8">
                  <c:v>350.73</c:v>
                </c:pt>
                <c:pt idx="9">
                  <c:v>695.61</c:v>
                </c:pt>
                <c:pt idx="10">
                  <c:v>634.08</c:v>
                </c:pt>
                <c:pt idx="11">
                  <c:v>642.22</c:v>
                </c:pt>
                <c:pt idx="12">
                  <c:v>649.42</c:v>
                </c:pt>
                <c:pt idx="13">
                  <c:v>652.94</c:v>
                </c:pt>
                <c:pt idx="14">
                  <c:v>467.39</c:v>
                </c:pt>
                <c:pt idx="15">
                  <c:v>633.08</c:v>
                </c:pt>
                <c:pt idx="16">
                  <c:v>596.69</c:v>
                </c:pt>
                <c:pt idx="17">
                  <c:v>601.16</c:v>
                </c:pt>
                <c:pt idx="18">
                  <c:v>843.38</c:v>
                </c:pt>
                <c:pt idx="19">
                  <c:v>900.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70.09</a:t>
                    </a:r>
                  </a:p>
                </c:rich>
              </c:tx>
              <c:showLegendKey val="0"/>
              <c:showVal val="1"/>
              <c:showCatName val="0"/>
              <c:showSerName val="0"/>
              <c:showPercent val="0"/>
              <c:showBubbleSize val="0"/>
            </c:dLbl>
            <c:dLbl>
              <c:idx val="2"/>
              <c:tx>
                <c:rich>
                  <a:bodyPr/>
                  <a:lstStyle/>
                  <a:p>
                    <a:r>
                      <a:t>96.8</a:t>
                    </a:r>
                  </a:p>
                </c:rich>
              </c:tx>
              <c:showLegendKey val="0"/>
              <c:showVal val="1"/>
              <c:showCatName val="0"/>
              <c:showSerName val="0"/>
              <c:showPercent val="0"/>
              <c:showBubbleSize val="0"/>
            </c:dLbl>
            <c:dLbl>
              <c:idx val="3"/>
              <c:tx>
                <c:rich>
                  <a:bodyPr/>
                  <a:lstStyle/>
                  <a:p>
                    <a:r>
                      <a:t>234.59</a:t>
                    </a:r>
                  </a:p>
                </c:rich>
              </c:tx>
              <c:showLegendKey val="0"/>
              <c:showVal val="1"/>
              <c:showCatName val="0"/>
              <c:showSerName val="0"/>
              <c:showPercent val="0"/>
              <c:showBubbleSize val="0"/>
            </c:dLbl>
            <c:dLbl>
              <c:idx val="4"/>
              <c:tx>
                <c:rich>
                  <a:bodyPr/>
                  <a:lstStyle/>
                  <a:p>
                    <a:r>
                      <a:t>220.0</a:t>
                    </a:r>
                  </a:p>
                </c:rich>
              </c:tx>
              <c:showLegendKey val="0"/>
              <c:showVal val="1"/>
              <c:showCatName val="0"/>
              <c:showSerName val="0"/>
              <c:showPercent val="0"/>
              <c:showBubbleSize val="0"/>
            </c:dLbl>
            <c:dLbl>
              <c:idx val="5"/>
              <c:tx>
                <c:rich>
                  <a:bodyPr/>
                  <a:lstStyle/>
                  <a:p>
                    <a:r>
                      <a:t>188.69</a:t>
                    </a:r>
                  </a:p>
                </c:rich>
              </c:tx>
              <c:showLegendKey val="0"/>
              <c:showVal val="1"/>
              <c:showCatName val="0"/>
              <c:showSerName val="0"/>
              <c:showPercent val="0"/>
              <c:showBubbleSize val="0"/>
            </c:dLbl>
            <c:dLbl>
              <c:idx val="6"/>
              <c:tx>
                <c:rich>
                  <a:bodyPr/>
                  <a:lstStyle/>
                  <a:p>
                    <a:r>
                      <a:t>294.01</a:t>
                    </a:r>
                  </a:p>
                </c:rich>
              </c:tx>
              <c:showLegendKey val="0"/>
              <c:showVal val="1"/>
              <c:showCatName val="0"/>
              <c:showSerName val="0"/>
              <c:showPercent val="0"/>
              <c:showBubbleSize val="0"/>
            </c:dLbl>
            <c:dLbl>
              <c:idx val="7"/>
              <c:tx>
                <c:rich>
                  <a:bodyPr/>
                  <a:lstStyle/>
                  <a:p>
                    <a:r>
                      <a:t>232.54</a:t>
                    </a:r>
                  </a:p>
                </c:rich>
              </c:tx>
              <c:showLegendKey val="0"/>
              <c:showVal val="1"/>
              <c:showCatName val="0"/>
              <c:showSerName val="0"/>
              <c:showPercent val="0"/>
              <c:showBubbleSize val="0"/>
            </c:dLbl>
            <c:dLbl>
              <c:idx val="8"/>
              <c:tx>
                <c:rich>
                  <a:bodyPr/>
                  <a:lstStyle/>
                  <a:p>
                    <a:r>
                      <a:t>295.0</a:t>
                    </a:r>
                  </a:p>
                </c:rich>
              </c:tx>
              <c:showLegendKey val="0"/>
              <c:showVal val="1"/>
              <c:showCatName val="0"/>
              <c:showSerName val="0"/>
              <c:showPercent val="0"/>
              <c:showBubbleSize val="0"/>
            </c:dLbl>
            <c:dLbl>
              <c:idx val="9"/>
              <c:tx>
                <c:rich>
                  <a:bodyPr/>
                  <a:lstStyle/>
                  <a:p>
                    <a:r>
                      <a:t>362.53</a:t>
                    </a:r>
                  </a:p>
                </c:rich>
              </c:tx>
              <c:showLegendKey val="0"/>
              <c:showVal val="1"/>
              <c:showCatName val="0"/>
              <c:showSerName val="0"/>
              <c:showPercent val="0"/>
              <c:showBubbleSize val="0"/>
            </c:dLbl>
            <c:dLbl>
              <c:idx val="10"/>
              <c:tx>
                <c:rich>
                  <a:bodyPr/>
                  <a:lstStyle/>
                  <a:p>
                    <a:r>
                      <a:t>453.61</a:t>
                    </a:r>
                  </a:p>
                </c:rich>
              </c:tx>
              <c:showLegendKey val="0"/>
              <c:showVal val="1"/>
              <c:showCatName val="0"/>
              <c:showSerName val="0"/>
              <c:showPercent val="0"/>
              <c:showBubbleSize val="0"/>
            </c:dLbl>
            <c:dLbl>
              <c:idx val="11"/>
              <c:tx>
                <c:rich>
                  <a:bodyPr/>
                  <a:lstStyle/>
                  <a:p>
                    <a:r>
                      <a:t>450.0</a:t>
                    </a:r>
                  </a:p>
                </c:rich>
              </c:tx>
              <c:showLegendKey val="0"/>
              <c:showVal val="1"/>
              <c:showCatName val="0"/>
              <c:showSerName val="0"/>
              <c:showPercent val="0"/>
              <c:showBubbleSize val="0"/>
            </c:dLbl>
            <c:dLbl>
              <c:idx val="12"/>
              <c:tx>
                <c:rich>
                  <a:bodyPr/>
                  <a:lstStyle/>
                  <a:p>
                    <a:r>
                      <a:t>155.62</a:t>
                    </a:r>
                  </a:p>
                </c:rich>
              </c:tx>
              <c:showLegendKey val="0"/>
              <c:showVal val="1"/>
              <c:showCatName val="0"/>
              <c:showSerName val="0"/>
              <c:showPercent val="0"/>
              <c:showBubbleSize val="0"/>
            </c:dLbl>
            <c:dLbl>
              <c:idx val="13"/>
              <c:tx>
                <c:rich>
                  <a:bodyPr/>
                  <a:lstStyle/>
                  <a:p>
                    <a:r>
                      <a:t>118.11</a:t>
                    </a:r>
                  </a:p>
                </c:rich>
              </c:tx>
              <c:showLegendKey val="0"/>
              <c:showVal val="1"/>
              <c:showCatName val="0"/>
              <c:showSerName val="0"/>
              <c:showPercent val="0"/>
              <c:showBubbleSize val="0"/>
            </c:dLbl>
            <c:dLbl>
              <c:idx val="14"/>
              <c:tx>
                <c:rich>
                  <a:bodyPr/>
                  <a:lstStyle/>
                  <a:p>
                    <a:r>
                      <a:t>178.16</a:t>
                    </a:r>
                  </a:p>
                </c:rich>
              </c:tx>
              <c:showLegendKey val="0"/>
              <c:showVal val="1"/>
              <c:showCatName val="0"/>
              <c:showSerName val="0"/>
              <c:showPercent val="0"/>
              <c:showBubbleSize val="0"/>
            </c:dLbl>
            <c:dLbl>
              <c:idx val="15"/>
              <c:tx>
                <c:rich>
                  <a:bodyPr/>
                  <a:lstStyle/>
                  <a:p>
                    <a:r>
                      <a:t>156.83</a:t>
                    </a:r>
                  </a:p>
                </c:rich>
              </c:tx>
              <c:showLegendKey val="0"/>
              <c:showVal val="1"/>
              <c:showCatName val="0"/>
              <c:showSerName val="0"/>
              <c:showPercent val="0"/>
              <c:showBubbleSize val="0"/>
            </c:dLbl>
            <c:dLbl>
              <c:idx val="16"/>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ther Sunscreen Adults Cosmetics Crema 50+ 240Ml</c:v>
                </c:pt>
                <c:pt idx="1">
                  <c:v>Edgewell Hawaiian Tropic Island Sport Sunscreen Adults Sport Liquido 50 60Ml</c:v>
                </c:pt>
                <c:pt idx="2">
                  <c:v>Edgewell Banana Boat Advanced Protection Sunscreen Adults Cosmetics Liquido 50+ 60Ml</c:v>
                </c:pt>
                <c:pt idx="3">
                  <c:v>Edgewell Banana Boat Mineral Sunscreen Adults Cosmetics Locion 50 60Ml</c:v>
                </c:pt>
                <c:pt idx="4">
                  <c:v>Edgewell Hawaiian Tropic Island Sport Sunscreen Adults Sport Spray Liquido 50 220Ml</c:v>
                </c:pt>
                <c:pt idx="5">
                  <c:v>Beiersdorf Nivea Sunscreen Adults Cosmetics Liquido 50+ 125Ml</c:v>
                </c:pt>
                <c:pt idx="6">
                  <c:v>Beiersdorf Nivea Sunscreen Adults Cosmetics Crema 50+ 200Ml</c:v>
                </c:pt>
                <c:pt idx="7">
                  <c:v>Beiersdorf Nivea Sunscreen Adults Cosmetics Crema 50 50Ml</c:v>
                </c:pt>
                <c:pt idx="8">
                  <c:v>Beiersdorf Nivea Sunscreen Kids Cosmetics Liquido 50+ 200Ml</c:v>
                </c:pt>
                <c:pt idx="9">
                  <c:v>Beiersdorf Nivea Sunscreen Adults Cosmetics Spray Liquido 50 200Ml</c:v>
                </c:pt>
                <c:pt idx="10">
                  <c:v>Isdin Isdin Sunscreen Adults Derma Crema 50 50Ml</c:v>
                </c:pt>
                <c:pt idx="11">
                  <c:v>Isdin Isdin Sunscreen Adults Derma Crema 50+ 50Ml</c:v>
                </c:pt>
                <c:pt idx="12">
                  <c:v>Others Fabricante Unif. Others Marca Unif. Sunscreen Adults Cosmetics Crema 50+ 125Ml</c:v>
                </c:pt>
                <c:pt idx="13">
                  <c:v>Others Fabricante Unif. Others Marca Unif. Sunscreen Adults Cosmetics Crema 50 100Ml</c:v>
                </c:pt>
                <c:pt idx="14">
                  <c:v>Others Fabricante Unif. Others Marca Unif. Sunscreen Adults Derma Crema 50+ 125Ml</c:v>
                </c:pt>
                <c:pt idx="15">
                  <c:v>Others Fabricante Unif. Others Marca Unif. Sunscreen Kids Derma Crema 50+ 125Ml</c:v>
                </c:pt>
                <c:pt idx="16">
                  <c:v>Others Fabricante Unif. Others Marca Unif. Sunscreen Adults Cosmetics Spray 50+ 170Ml</c:v>
                </c:pt>
              </c:strCache>
            </c:strRef>
          </c:cat>
          <c:val>
            <c:numRef>
              <c:f>Sheet1!$B$2:$B$18</c:f>
              <c:numCache>
                <c:formatCode>General</c:formatCode>
                <c:ptCount val="17"/>
                <c:pt idx="0">
                  <c:v>240.0</c:v>
                </c:pt>
                <c:pt idx="1">
                  <c:v>70.09</c:v>
                </c:pt>
                <c:pt idx="2">
                  <c:v>96.8</c:v>
                </c:pt>
                <c:pt idx="3">
                  <c:v>234.59</c:v>
                </c:pt>
                <c:pt idx="4">
                  <c:v>220.0</c:v>
                </c:pt>
                <c:pt idx="5">
                  <c:v>188.69</c:v>
                </c:pt>
                <c:pt idx="6">
                  <c:v>294.01</c:v>
                </c:pt>
                <c:pt idx="7">
                  <c:v>232.54</c:v>
                </c:pt>
                <c:pt idx="8">
                  <c:v>295.0</c:v>
                </c:pt>
                <c:pt idx="9">
                  <c:v>362.53</c:v>
                </c:pt>
                <c:pt idx="10">
                  <c:v>453.61</c:v>
                </c:pt>
                <c:pt idx="11">
                  <c:v>450.0</c:v>
                </c:pt>
                <c:pt idx="12">
                  <c:v>155.62</c:v>
                </c:pt>
                <c:pt idx="13">
                  <c:v>118.11</c:v>
                </c:pt>
                <c:pt idx="14">
                  <c:v>178.16</c:v>
                </c:pt>
                <c:pt idx="15">
                  <c:v>156.83</c:v>
                </c:pt>
                <c:pt idx="16">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281.61</a:t>
                    </a:r>
                  </a:p>
                </c:rich>
              </c:tx>
              <c:showLegendKey val="0"/>
              <c:showVal val="1"/>
              <c:showCatName val="0"/>
              <c:showSerName val="0"/>
              <c:showPercent val="0"/>
              <c:showBubbleSize val="0"/>
            </c:dLbl>
            <c:dLbl>
              <c:idx val="4"/>
              <c:tx>
                <c:rich>
                  <a:bodyPr/>
                  <a:lstStyle/>
                  <a:p>
                    <a:r>
                      <a:t>326.59</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300.61</a:t>
                    </a:r>
                  </a:p>
                </c:rich>
              </c:tx>
              <c:showLegendKey val="0"/>
              <c:showVal val="1"/>
              <c:showCatName val="0"/>
              <c:showSerName val="0"/>
              <c:showPercent val="0"/>
              <c:showBubbleSize val="0"/>
            </c:dLbl>
            <c:dLbl>
              <c:idx val="8"/>
              <c:tx>
                <c:rich>
                  <a:bodyPr/>
                  <a:lstStyle/>
                  <a:p>
                    <a:r>
                      <a:t>305.45</a:t>
                    </a:r>
                  </a:p>
                </c:rich>
              </c:tx>
              <c:showLegendKey val="0"/>
              <c:showVal val="1"/>
              <c:showCatName val="0"/>
              <c:showSerName val="0"/>
              <c:showPercent val="0"/>
              <c:showBubbleSize val="0"/>
            </c:dLbl>
            <c:dLbl>
              <c:idx val="9"/>
              <c:tx>
                <c:rich>
                  <a:bodyPr/>
                  <a:lstStyle/>
                  <a:p>
                    <a:r>
                      <a:t>187.84</a:t>
                    </a:r>
                  </a:p>
                </c:rich>
              </c:tx>
              <c:showLegendKey val="0"/>
              <c:showVal val="1"/>
              <c:showCatName val="0"/>
              <c:showSerName val="0"/>
              <c:showPercent val="0"/>
              <c:showBubbleSize val="0"/>
            </c:dLbl>
            <c:dLbl>
              <c:idx val="10"/>
              <c:tx>
                <c:rich>
                  <a:bodyPr/>
                  <a:lstStyle/>
                  <a:p>
                    <a:r>
                      <a:t>227.46</a:t>
                    </a:r>
                  </a:p>
                </c:rich>
              </c:tx>
              <c:showLegendKey val="0"/>
              <c:showVal val="1"/>
              <c:showCatName val="0"/>
              <c:showSerName val="0"/>
              <c:showPercent val="0"/>
              <c:showBubbleSize val="0"/>
            </c:dLbl>
            <c:dLbl>
              <c:idx val="11"/>
              <c:tx>
                <c:rich>
                  <a:bodyPr/>
                  <a:lstStyle/>
                  <a:p>
                    <a:r>
                      <a:t>325.47</a:t>
                    </a:r>
                  </a:p>
                </c:rich>
              </c:tx>
              <c:showLegendKey val="0"/>
              <c:showVal val="1"/>
              <c:showCatName val="0"/>
              <c:showSerName val="0"/>
              <c:showPercent val="0"/>
              <c:showBubbleSize val="0"/>
            </c:dLbl>
            <c:dLbl>
              <c:idx val="12"/>
              <c:tx>
                <c:rich>
                  <a:bodyPr/>
                  <a:lstStyle/>
                  <a:p>
                    <a:r>
                      <a:t>271.09</a:t>
                    </a:r>
                  </a:p>
                </c:rich>
              </c:tx>
              <c:showLegendKey val="0"/>
              <c:showVal val="1"/>
              <c:showCatName val="0"/>
              <c:showSerName val="0"/>
              <c:showPercent val="0"/>
              <c:showBubbleSize val="0"/>
            </c:dLbl>
            <c:dLbl>
              <c:idx val="13"/>
              <c:tx>
                <c:rich>
                  <a:bodyPr/>
                  <a:lstStyle/>
                  <a:p>
                    <a:r>
                      <a:t>618.9</a:t>
                    </a:r>
                  </a:p>
                </c:rich>
              </c:tx>
              <c:showLegendKey val="0"/>
              <c:showVal val="1"/>
              <c:showCatName val="0"/>
              <c:showSerName val="0"/>
              <c:showPercent val="0"/>
              <c:showBubbleSize val="0"/>
            </c:dLbl>
            <c:dLbl>
              <c:idx val="14"/>
              <c:tx>
                <c:rich>
                  <a:bodyPr/>
                  <a:lstStyle/>
                  <a:p>
                    <a:r>
                      <a:t>617.3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L'Oreal Garnier Sunscreen Adults Cosmetics Crema 50+ 40Ml</c:v>
                </c:pt>
                <c:pt idx="11">
                  <c:v>L'Oreal Loreal Paris Sunscreen Adults Derma Liquido 50+ 40Ml</c:v>
                </c:pt>
                <c:pt idx="12">
                  <c:v>L'Oreal Garnier Sunscreen Adults Cosmetics Serum 50+ 40Ml</c:v>
                </c:pt>
                <c:pt idx="13">
                  <c:v>L'Oreal La Roche-Posay Sunscreen Adults Derma Fluido 50+ 50Ml</c:v>
                </c:pt>
                <c:pt idx="14">
                  <c:v>L'Oreal La Roche-Posay Banded Pack Sunscreen + O.O.S Multi 50+ 50Ml</c:v>
                </c:pt>
              </c:strCache>
            </c:strRef>
          </c:cat>
          <c:val>
            <c:numRef>
              <c:f>Sheet1!$B$2:$B$16</c:f>
              <c:numCache>
                <c:formatCode>General</c:formatCode>
                <c:ptCount val="15"/>
                <c:pt idx="0">
                  <c:v>305.1</c:v>
                </c:pt>
                <c:pt idx="1">
                  <c:v>312.14</c:v>
                </c:pt>
                <c:pt idx="2">
                  <c:v>305.29</c:v>
                </c:pt>
                <c:pt idx="3">
                  <c:v>281.61</c:v>
                </c:pt>
                <c:pt idx="4">
                  <c:v>326.59</c:v>
                </c:pt>
                <c:pt idx="5">
                  <c:v>305.54</c:v>
                </c:pt>
                <c:pt idx="6">
                  <c:v>271.17</c:v>
                </c:pt>
                <c:pt idx="7">
                  <c:v>300.61</c:v>
                </c:pt>
                <c:pt idx="8">
                  <c:v>305.45</c:v>
                </c:pt>
                <c:pt idx="9">
                  <c:v>187.84</c:v>
                </c:pt>
                <c:pt idx="10">
                  <c:v>227.46</c:v>
                </c:pt>
                <c:pt idx="11">
                  <c:v>325.47</c:v>
                </c:pt>
                <c:pt idx="12">
                  <c:v>271.09</c:v>
                </c:pt>
                <c:pt idx="13">
                  <c:v>618.9</c:v>
                </c:pt>
                <c:pt idx="14">
                  <c:v>617.3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301.59</a:t>
                    </a:r>
                  </a:p>
                </c:rich>
              </c:tx>
              <c:showLegendKey val="0"/>
              <c:showVal val="1"/>
              <c:showCatName val="0"/>
              <c:showSerName val="0"/>
              <c:showPercent val="0"/>
              <c:showBubbleSize val="0"/>
            </c:dLbl>
            <c:dLbl>
              <c:idx val="2"/>
              <c:tx>
                <c:rich>
                  <a:bodyPr/>
                  <a:lstStyle/>
                  <a:p>
                    <a:r>
                      <a:t>296.61</a:t>
                    </a:r>
                  </a:p>
                </c:rich>
              </c:tx>
              <c:showLegendKey val="0"/>
              <c:showVal val="1"/>
              <c:showCatName val="0"/>
              <c:showSerName val="0"/>
              <c:showPercent val="0"/>
              <c:showBubbleSize val="0"/>
            </c:dLbl>
            <c:dLbl>
              <c:idx val="3"/>
              <c:tx>
                <c:rich>
                  <a:bodyPr/>
                  <a:lstStyle/>
                  <a:p>
                    <a:r>
                      <a:t>305.15</a:t>
                    </a:r>
                  </a:p>
                </c:rich>
              </c:tx>
              <c:showLegendKey val="0"/>
              <c:showVal val="1"/>
              <c:showCatName val="0"/>
              <c:showSerName val="0"/>
              <c:showPercent val="0"/>
              <c:showBubbleSize val="0"/>
            </c:dLbl>
            <c:dLbl>
              <c:idx val="4"/>
              <c:tx>
                <c:rich>
                  <a:bodyPr/>
                  <a:lstStyle/>
                  <a:p>
                    <a:r>
                      <a:t>326.36</a:t>
                    </a:r>
                  </a:p>
                </c:rich>
              </c:tx>
              <c:showLegendKey val="0"/>
              <c:showVal val="1"/>
              <c:showCatName val="0"/>
              <c:showSerName val="0"/>
              <c:showPercent val="0"/>
              <c:showBubbleSize val="0"/>
            </c:dLbl>
            <c:dLbl>
              <c:idx val="5"/>
              <c:tx>
                <c:rich>
                  <a:bodyPr/>
                  <a:lstStyle/>
                  <a:p>
                    <a:r>
                      <a:t>276.8</a:t>
                    </a:r>
                  </a:p>
                </c:rich>
              </c:tx>
              <c:showLegendKey val="0"/>
              <c:showVal val="1"/>
              <c:showCatName val="0"/>
              <c:showSerName val="0"/>
              <c:showPercent val="0"/>
              <c:showBubbleSize val="0"/>
            </c:dLbl>
            <c:dLbl>
              <c:idx val="6"/>
              <c:tx>
                <c:rich>
                  <a:bodyPr/>
                  <a:lstStyle/>
                  <a:p>
                    <a:r>
                      <a:t>316.96</a:t>
                    </a:r>
                  </a:p>
                </c:rich>
              </c:tx>
              <c:showLegendKey val="0"/>
              <c:showVal val="1"/>
              <c:showCatName val="0"/>
              <c:showSerName val="0"/>
              <c:showPercent val="0"/>
              <c:showBubbleSize val="0"/>
            </c:dLbl>
            <c:dLbl>
              <c:idx val="7"/>
              <c:tx>
                <c:rich>
                  <a:bodyPr/>
                  <a:lstStyle/>
                  <a:p>
                    <a:r>
                      <a:t>301.21</a:t>
                    </a:r>
                  </a:p>
                </c:rich>
              </c:tx>
              <c:showLegendKey val="0"/>
              <c:showVal val="1"/>
              <c:showCatName val="0"/>
              <c:showSerName val="0"/>
              <c:showPercent val="0"/>
              <c:showBubbleSize val="0"/>
            </c:dLbl>
            <c:dLbl>
              <c:idx val="8"/>
              <c:tx>
                <c:rich>
                  <a:bodyPr/>
                  <a:lstStyle/>
                  <a:p>
                    <a:r>
                      <a:t>322.3</a:t>
                    </a:r>
                  </a:p>
                </c:rich>
              </c:tx>
              <c:showLegendKey val="0"/>
              <c:showVal val="1"/>
              <c:showCatName val="0"/>
              <c:showSerName val="0"/>
              <c:showPercent val="0"/>
              <c:showBubbleSize val="0"/>
            </c:dLbl>
            <c:dLbl>
              <c:idx val="9"/>
              <c:tx>
                <c:rich>
                  <a:bodyPr/>
                  <a:lstStyle/>
                  <a:p>
                    <a:r>
                      <a:t>186.86</a:t>
                    </a:r>
                  </a:p>
                </c:rich>
              </c:tx>
              <c:showLegendKey val="0"/>
              <c:showVal val="1"/>
              <c:showCatName val="0"/>
              <c:showSerName val="0"/>
              <c:showPercent val="0"/>
              <c:showBubbleSize val="0"/>
            </c:dLbl>
            <c:dLbl>
              <c:idx val="10"/>
              <c:tx>
                <c:rich>
                  <a:bodyPr/>
                  <a:lstStyle/>
                  <a:p>
                    <a:r>
                      <a:t>635.69</a:t>
                    </a:r>
                  </a:p>
                </c:rich>
              </c:tx>
              <c:showLegendKey val="0"/>
              <c:showVal val="1"/>
              <c:showCatName val="0"/>
              <c:showSerName val="0"/>
              <c:showPercent val="0"/>
              <c:showBubbleSize val="0"/>
            </c:dLbl>
            <c:dLbl>
              <c:idx val="11"/>
              <c:tx>
                <c:rich>
                  <a:bodyPr/>
                  <a:lstStyle/>
                  <a:p>
                    <a:r>
                      <a:t>636.86</a:t>
                    </a:r>
                  </a:p>
                </c:rich>
              </c:tx>
              <c:showLegendKey val="0"/>
              <c:showVal val="1"/>
              <c:showCatName val="0"/>
              <c:showSerName val="0"/>
              <c:showPercent val="0"/>
              <c:showBubbleSize val="0"/>
            </c:dLbl>
            <c:dLbl>
              <c:idx val="12"/>
              <c:tx>
                <c:rich>
                  <a:bodyPr/>
                  <a:lstStyle/>
                  <a:p>
                    <a:r>
                      <a:t>646.75</a:t>
                    </a:r>
                  </a:p>
                </c:rich>
              </c:tx>
              <c:showLegendKey val="0"/>
              <c:showVal val="1"/>
              <c:showCatName val="0"/>
              <c:showSerName val="0"/>
              <c:showPercent val="0"/>
              <c:showBubbleSize val="0"/>
            </c:dLbl>
            <c:dLbl>
              <c:idx val="13"/>
              <c:tx>
                <c:rich>
                  <a:bodyPr/>
                  <a:lstStyle/>
                  <a:p>
                    <a:r>
                      <a:t>665.28</a:t>
                    </a:r>
                  </a:p>
                </c:rich>
              </c:tx>
              <c:showLegendKey val="0"/>
              <c:showVal val="1"/>
              <c:showCatName val="0"/>
              <c:showSerName val="0"/>
              <c:showPercent val="0"/>
              <c:showBubbleSize val="0"/>
            </c:dLbl>
            <c:dLbl>
              <c:idx val="14"/>
              <c:tx>
                <c:rich>
                  <a:bodyPr/>
                  <a:lstStyle/>
                  <a:p>
                    <a:r>
                      <a:t>462.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Beiersdorf Nivea Sunscreen Adults Cosmetics Crema 50 50Ml</c:v>
                </c:pt>
                <c:pt idx="6">
                  <c:v>Beiersdorf Nivea Sunscreen Adults Cosmetics Crema 50+ 200Ml</c:v>
                </c:pt>
                <c:pt idx="7">
                  <c:v>Beiersdorf Nivea Sunscreen Adults Cosmetics Liquido 50 200Ml</c:v>
                </c:pt>
                <c:pt idx="8">
                  <c:v>Beiersdorf Nivea Sunscreen Adults Cosmetics Gel 50+ 200Ml</c:v>
                </c:pt>
                <c:pt idx="9">
                  <c:v>Beiersdorf Nivea Sunscreen Adults Cosmetics Liquido 50+ 125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strCache>
            </c:strRef>
          </c:cat>
          <c:val>
            <c:numRef>
              <c:f>Sheet1!$B$2:$B$16</c:f>
              <c:numCache>
                <c:formatCode>General</c:formatCode>
                <c:ptCount val="15"/>
                <c:pt idx="0">
                  <c:v>302.7</c:v>
                </c:pt>
                <c:pt idx="1">
                  <c:v>301.59</c:v>
                </c:pt>
                <c:pt idx="2">
                  <c:v>296.61</c:v>
                </c:pt>
                <c:pt idx="3">
                  <c:v>305.15</c:v>
                </c:pt>
                <c:pt idx="4">
                  <c:v>326.36</c:v>
                </c:pt>
                <c:pt idx="5">
                  <c:v>276.8</c:v>
                </c:pt>
                <c:pt idx="6">
                  <c:v>316.96</c:v>
                </c:pt>
                <c:pt idx="7">
                  <c:v>301.21</c:v>
                </c:pt>
                <c:pt idx="8">
                  <c:v>322.3</c:v>
                </c:pt>
                <c:pt idx="9">
                  <c:v>186.86</c:v>
                </c:pt>
                <c:pt idx="10">
                  <c:v>635.69</c:v>
                </c:pt>
                <c:pt idx="11">
                  <c:v>636.86</c:v>
                </c:pt>
                <c:pt idx="12">
                  <c:v>646.75</c:v>
                </c:pt>
                <c:pt idx="13">
                  <c:v>665.28</c:v>
                </c:pt>
                <c:pt idx="14">
                  <c:v>46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306.84</a:t>
                    </a:r>
                  </a:p>
                </c:rich>
              </c:tx>
              <c:showLegendKey val="0"/>
              <c:showVal val="1"/>
              <c:showCatName val="0"/>
              <c:showSerName val="0"/>
              <c:showPercent val="0"/>
              <c:showBubbleSize val="0"/>
            </c:dLbl>
            <c:dLbl>
              <c:idx val="2"/>
              <c:tx>
                <c:rich>
                  <a:bodyPr/>
                  <a:lstStyle/>
                  <a:p>
                    <a:r>
                      <a:t>303.99</a:t>
                    </a:r>
                  </a:p>
                </c:rich>
              </c:tx>
              <c:showLegendKey val="0"/>
              <c:showVal val="1"/>
              <c:showCatName val="0"/>
              <c:showSerName val="0"/>
              <c:showPercent val="0"/>
              <c:showBubbleSize val="0"/>
            </c:dLbl>
            <c:dLbl>
              <c:idx val="3"/>
              <c:tx>
                <c:rich>
                  <a:bodyPr/>
                  <a:lstStyle/>
                  <a:p>
                    <a:r>
                      <a:t>308.69</a:t>
                    </a:r>
                  </a:p>
                </c:rich>
              </c:tx>
              <c:showLegendKey val="0"/>
              <c:showVal val="1"/>
              <c:showCatName val="0"/>
              <c:showSerName val="0"/>
              <c:showPercent val="0"/>
              <c:showBubbleSize val="0"/>
            </c:dLbl>
            <c:dLbl>
              <c:idx val="4"/>
              <c:tx>
                <c:rich>
                  <a:bodyPr/>
                  <a:lstStyle/>
                  <a:p>
                    <a:r>
                      <a:t>338.04</a:t>
                    </a:r>
                  </a:p>
                </c:rich>
              </c:tx>
              <c:showLegendKey val="0"/>
              <c:showVal val="1"/>
              <c:showCatName val="0"/>
              <c:showSerName val="0"/>
              <c:showPercent val="0"/>
              <c:showBubbleSize val="0"/>
            </c:dLbl>
            <c:dLbl>
              <c:idx val="5"/>
              <c:tx>
                <c:rich>
                  <a:bodyPr/>
                  <a:lstStyle/>
                  <a:p>
                    <a:r>
                      <a:t>281.56</a:t>
                    </a:r>
                  </a:p>
                </c:rich>
              </c:tx>
              <c:showLegendKey val="0"/>
              <c:showVal val="1"/>
              <c:showCatName val="0"/>
              <c:showSerName val="0"/>
              <c:showPercent val="0"/>
              <c:showBubbleSize val="0"/>
            </c:dLbl>
            <c:dLbl>
              <c:idx val="6"/>
              <c:tx>
                <c:rich>
                  <a:bodyPr/>
                  <a:lstStyle/>
                  <a:p>
                    <a:r>
                      <a:t>316.47</a:t>
                    </a:r>
                  </a:p>
                </c:rich>
              </c:tx>
              <c:showLegendKey val="0"/>
              <c:showVal val="1"/>
              <c:showCatName val="0"/>
              <c:showSerName val="0"/>
              <c:showPercent val="0"/>
              <c:showBubbleSize val="0"/>
            </c:dLbl>
            <c:dLbl>
              <c:idx val="7"/>
              <c:tx>
                <c:rich>
                  <a:bodyPr/>
                  <a:lstStyle/>
                  <a:p>
                    <a:r>
                      <a:t>312.72</a:t>
                    </a:r>
                  </a:p>
                </c:rich>
              </c:tx>
              <c:showLegendKey val="0"/>
              <c:showVal val="1"/>
              <c:showCatName val="0"/>
              <c:showSerName val="0"/>
              <c:showPercent val="0"/>
              <c:showBubbleSize val="0"/>
            </c:dLbl>
            <c:dLbl>
              <c:idx val="8"/>
              <c:tx>
                <c:rich>
                  <a:bodyPr/>
                  <a:lstStyle/>
                  <a:p>
                    <a:r>
                      <a:t>318.97</a:t>
                    </a:r>
                  </a:p>
                </c:rich>
              </c:tx>
              <c:showLegendKey val="0"/>
              <c:showVal val="1"/>
              <c:showCatName val="0"/>
              <c:showSerName val="0"/>
              <c:showPercent val="0"/>
              <c:showBubbleSize val="0"/>
            </c:dLbl>
            <c:dLbl>
              <c:idx val="9"/>
              <c:tx>
                <c:rich>
                  <a:bodyPr/>
                  <a:lstStyle/>
                  <a:p>
                    <a:r>
                      <a:t>186.09</a:t>
                    </a:r>
                  </a:p>
                </c:rich>
              </c:tx>
              <c:showLegendKey val="0"/>
              <c:showVal val="1"/>
              <c:showCatName val="0"/>
              <c:showSerName val="0"/>
              <c:showPercent val="0"/>
              <c:showBubbleSize val="0"/>
            </c:dLbl>
            <c:dLbl>
              <c:idx val="10"/>
              <c:tx>
                <c:rich>
                  <a:bodyPr/>
                  <a:lstStyle/>
                  <a:p>
                    <a:r>
                      <a:t>635.1</a:t>
                    </a:r>
                  </a:p>
                </c:rich>
              </c:tx>
              <c:showLegendKey val="0"/>
              <c:showVal val="1"/>
              <c:showCatName val="0"/>
              <c:showSerName val="0"/>
              <c:showPercent val="0"/>
              <c:showBubbleSize val="0"/>
            </c:dLbl>
            <c:dLbl>
              <c:idx val="11"/>
              <c:tx>
                <c:rich>
                  <a:bodyPr/>
                  <a:lstStyle/>
                  <a:p>
                    <a:r>
                      <a:t>641.3</a:t>
                    </a:r>
                  </a:p>
                </c:rich>
              </c:tx>
              <c:showLegendKey val="0"/>
              <c:showVal val="1"/>
              <c:showCatName val="0"/>
              <c:showSerName val="0"/>
              <c:showPercent val="0"/>
              <c:showBubbleSize val="0"/>
            </c:dLbl>
            <c:dLbl>
              <c:idx val="12"/>
              <c:tx>
                <c:rich>
                  <a:bodyPr/>
                  <a:lstStyle/>
                  <a:p>
                    <a:r>
                      <a:t>647.88</a:t>
                    </a:r>
                  </a:p>
                </c:rich>
              </c:tx>
              <c:showLegendKey val="0"/>
              <c:showVal val="1"/>
              <c:showCatName val="0"/>
              <c:showSerName val="0"/>
              <c:showPercent val="0"/>
              <c:showBubbleSize val="0"/>
            </c:dLbl>
            <c:dLbl>
              <c:idx val="13"/>
              <c:tx>
                <c:rich>
                  <a:bodyPr/>
                  <a:lstStyle/>
                  <a:p>
                    <a:r>
                      <a:t>648.86</a:t>
                    </a:r>
                  </a:p>
                </c:rich>
              </c:tx>
              <c:showLegendKey val="0"/>
              <c:showVal val="1"/>
              <c:showCatName val="0"/>
              <c:showSerName val="0"/>
              <c:showPercent val="0"/>
              <c:showBubbleSize val="0"/>
            </c:dLbl>
            <c:dLbl>
              <c:idx val="14"/>
              <c:tx>
                <c:rich>
                  <a:bodyPr/>
                  <a:lstStyle/>
                  <a:p>
                    <a:r>
                      <a:t>465.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Liquido 50 240Ml</c:v>
                </c:pt>
                <c:pt idx="4">
                  <c:v>Edgewell Banana Boat Banded Pack Banded Pack 2X Sunscreen Multi 50+ 170Ml</c:v>
                </c:pt>
                <c:pt idx="5">
                  <c:v>Beiersdorf Nivea Sunscreen Adults Cosmetics Crema 50 50Ml</c:v>
                </c:pt>
                <c:pt idx="6">
                  <c:v>Beiersdorf Nivea Sunscreen Adults Cosmetics Crema 50+ 200Ml</c:v>
                </c:pt>
                <c:pt idx="7">
                  <c:v>Beiersdorf Nivea Sunscreen Adults Cosmetics Liquido 50 200Ml</c:v>
                </c:pt>
                <c:pt idx="8">
                  <c:v>Beiersdorf Nivea Sunscreen Adults Cosmetics Gel 50+ 200Ml</c:v>
                </c:pt>
                <c:pt idx="9">
                  <c:v>Beiersdorf Nivea Sunscreen Adults Cosmetics Liquido 50+ 125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strCache>
            </c:strRef>
          </c:cat>
          <c:val>
            <c:numRef>
              <c:f>Sheet1!$B$2:$B$16</c:f>
              <c:numCache>
                <c:formatCode>General</c:formatCode>
                <c:ptCount val="15"/>
                <c:pt idx="0">
                  <c:v>305.74</c:v>
                </c:pt>
                <c:pt idx="1">
                  <c:v>306.84</c:v>
                </c:pt>
                <c:pt idx="2">
                  <c:v>303.99</c:v>
                </c:pt>
                <c:pt idx="3">
                  <c:v>308.69</c:v>
                </c:pt>
                <c:pt idx="4">
                  <c:v>338.04</c:v>
                </c:pt>
                <c:pt idx="5">
                  <c:v>281.56</c:v>
                </c:pt>
                <c:pt idx="6">
                  <c:v>316.47</c:v>
                </c:pt>
                <c:pt idx="7">
                  <c:v>312.72</c:v>
                </c:pt>
                <c:pt idx="8">
                  <c:v>318.97</c:v>
                </c:pt>
                <c:pt idx="9">
                  <c:v>186.09</c:v>
                </c:pt>
                <c:pt idx="10">
                  <c:v>635.1</c:v>
                </c:pt>
                <c:pt idx="11">
                  <c:v>641.3</c:v>
                </c:pt>
                <c:pt idx="12">
                  <c:v>647.88</c:v>
                </c:pt>
                <c:pt idx="13">
                  <c:v>648.86</c:v>
                </c:pt>
                <c:pt idx="14">
                  <c:v>465.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32</a:t>
                    </a:r>
                  </a:p>
                </c:rich>
              </c:tx>
              <c:showLegendKey val="0"/>
              <c:showVal val="1"/>
              <c:showCatName val="0"/>
              <c:showSerName val="0"/>
              <c:showPercent val="0"/>
              <c:showBubbleSize val="0"/>
            </c:dLbl>
            <c:dLbl>
              <c:idx val="1"/>
              <c:tx>
                <c:rich>
                  <a:bodyPr/>
                  <a:lstStyle/>
                  <a:p>
                    <a:r>
                      <a:t>318.53</a:t>
                    </a:r>
                  </a:p>
                </c:rich>
              </c:tx>
              <c:showLegendKey val="0"/>
              <c:showVal val="1"/>
              <c:showCatName val="0"/>
              <c:showSerName val="0"/>
              <c:showPercent val="0"/>
              <c:showBubbleSize val="0"/>
            </c:dLbl>
            <c:dLbl>
              <c:idx val="2"/>
              <c:tx>
                <c:rich>
                  <a:bodyPr/>
                  <a:lstStyle/>
                  <a:p>
                    <a:r>
                      <a:t>348.86</a:t>
                    </a:r>
                  </a:p>
                </c:rich>
              </c:tx>
              <c:showLegendKey val="0"/>
              <c:showVal val="1"/>
              <c:showCatName val="0"/>
              <c:showSerName val="0"/>
              <c:showPercent val="0"/>
              <c:showBubbleSize val="0"/>
            </c:dLbl>
            <c:dLbl>
              <c:idx val="3"/>
              <c:tx>
                <c:rich>
                  <a:bodyPr/>
                  <a:lstStyle/>
                  <a:p>
                    <a:r>
                      <a:t>347.12</a:t>
                    </a:r>
                  </a:p>
                </c:rich>
              </c:tx>
              <c:showLegendKey val="0"/>
              <c:showVal val="1"/>
              <c:showCatName val="0"/>
              <c:showSerName val="0"/>
              <c:showPercent val="0"/>
              <c:showBubbleSize val="0"/>
            </c:dLbl>
            <c:dLbl>
              <c:idx val="4"/>
              <c:tx>
                <c:rich>
                  <a:bodyPr/>
                  <a:lstStyle/>
                  <a:p>
                    <a:r>
                      <a:t>330.0</a:t>
                    </a:r>
                  </a:p>
                </c:rich>
              </c:tx>
              <c:showLegendKey val="0"/>
              <c:showVal val="1"/>
              <c:showCatName val="0"/>
              <c:showSerName val="0"/>
              <c:showPercent val="0"/>
              <c:showBubbleSize val="0"/>
            </c:dLbl>
            <c:dLbl>
              <c:idx val="5"/>
              <c:tx>
                <c:rich>
                  <a:bodyPr/>
                  <a:lstStyle/>
                  <a:p>
                    <a:r>
                      <a:t>655.36</a:t>
                    </a:r>
                  </a:p>
                </c:rich>
              </c:tx>
              <c:showLegendKey val="0"/>
              <c:showVal val="1"/>
              <c:showCatName val="0"/>
              <c:showSerName val="0"/>
              <c:showPercent val="0"/>
              <c:showBubbleSize val="0"/>
            </c:dLbl>
            <c:dLbl>
              <c:idx val="6"/>
              <c:tx>
                <c:rich>
                  <a:bodyPr/>
                  <a:lstStyle/>
                  <a:p>
                    <a:r>
                      <a:t>716.41</a:t>
                    </a:r>
                  </a:p>
                </c:rich>
              </c:tx>
              <c:showLegendKey val="0"/>
              <c:showVal val="1"/>
              <c:showCatName val="0"/>
              <c:showSerName val="0"/>
              <c:showPercent val="0"/>
              <c:showBubbleSize val="0"/>
            </c:dLbl>
            <c:dLbl>
              <c:idx val="7"/>
              <c:tx>
                <c:rich>
                  <a:bodyPr/>
                  <a:lstStyle/>
                  <a:p>
                    <a:r>
                      <a:t>315.86</a:t>
                    </a:r>
                  </a:p>
                </c:rich>
              </c:tx>
              <c:showLegendKey val="0"/>
              <c:showVal val="1"/>
              <c:showCatName val="0"/>
              <c:showSerName val="0"/>
              <c:showPercent val="0"/>
              <c:showBubbleSize val="0"/>
            </c:dLbl>
            <c:dLbl>
              <c:idx val="8"/>
              <c:tx>
                <c:rich>
                  <a:bodyPr/>
                  <a:lstStyle/>
                  <a:p>
                    <a:r>
                      <a:t>350.73</a:t>
                    </a:r>
                  </a:p>
                </c:rich>
              </c:tx>
              <c:showLegendKey val="0"/>
              <c:showVal val="1"/>
              <c:showCatName val="0"/>
              <c:showSerName val="0"/>
              <c:showPercent val="0"/>
              <c:showBubbleSize val="0"/>
            </c:dLbl>
            <c:dLbl>
              <c:idx val="9"/>
              <c:tx>
                <c:rich>
                  <a:bodyPr/>
                  <a:lstStyle/>
                  <a:p>
                    <a:r>
                      <a:t>695.61</a:t>
                    </a:r>
                  </a:p>
                </c:rich>
              </c:tx>
              <c:showLegendKey val="0"/>
              <c:showVal val="1"/>
              <c:showCatName val="0"/>
              <c:showSerName val="0"/>
              <c:showPercent val="0"/>
              <c:showBubbleSize val="0"/>
            </c:dLbl>
            <c:dLbl>
              <c:idx val="10"/>
              <c:tx>
                <c:rich>
                  <a:bodyPr/>
                  <a:lstStyle/>
                  <a:p>
                    <a:r>
                      <a:t>634.08</a:t>
                    </a:r>
                  </a:p>
                </c:rich>
              </c:tx>
              <c:showLegendKey val="0"/>
              <c:showVal val="1"/>
              <c:showCatName val="0"/>
              <c:showSerName val="0"/>
              <c:showPercent val="0"/>
              <c:showBubbleSize val="0"/>
            </c:dLbl>
            <c:dLbl>
              <c:idx val="11"/>
              <c:tx>
                <c:rich>
                  <a:bodyPr/>
                  <a:lstStyle/>
                  <a:p>
                    <a:r>
                      <a:t>642.22</a:t>
                    </a:r>
                  </a:p>
                </c:rich>
              </c:tx>
              <c:showLegendKey val="0"/>
              <c:showVal val="1"/>
              <c:showCatName val="0"/>
              <c:showSerName val="0"/>
              <c:showPercent val="0"/>
              <c:showBubbleSize val="0"/>
            </c:dLbl>
            <c:dLbl>
              <c:idx val="12"/>
              <c:tx>
                <c:rich>
                  <a:bodyPr/>
                  <a:lstStyle/>
                  <a:p>
                    <a:r>
                      <a:t>649.42</a:t>
                    </a:r>
                  </a:p>
                </c:rich>
              </c:tx>
              <c:showLegendKey val="0"/>
              <c:showVal val="1"/>
              <c:showCatName val="0"/>
              <c:showSerName val="0"/>
              <c:showPercent val="0"/>
              <c:showBubbleSize val="0"/>
            </c:dLbl>
            <c:dLbl>
              <c:idx val="13"/>
              <c:tx>
                <c:rich>
                  <a:bodyPr/>
                  <a:lstStyle/>
                  <a:p>
                    <a:r>
                      <a:t>652.94</a:t>
                    </a:r>
                  </a:p>
                </c:rich>
              </c:tx>
              <c:showLegendKey val="0"/>
              <c:showVal val="1"/>
              <c:showCatName val="0"/>
              <c:showSerName val="0"/>
              <c:showPercent val="0"/>
              <c:showBubbleSize val="0"/>
            </c:dLbl>
            <c:dLbl>
              <c:idx val="14"/>
              <c:tx>
                <c:rich>
                  <a:bodyPr/>
                  <a:lstStyle/>
                  <a:p>
                    <a:r>
                      <a:t>467.39</a:t>
                    </a:r>
                  </a:p>
                </c:rich>
              </c:tx>
              <c:showLegendKey val="0"/>
              <c:showVal val="1"/>
              <c:showCatName val="0"/>
              <c:showSerName val="0"/>
              <c:showPercent val="0"/>
              <c:showBubbleSize val="0"/>
            </c:dLbl>
            <c:dLbl>
              <c:idx val="15"/>
              <c:tx>
                <c:rich>
                  <a:bodyPr/>
                  <a:lstStyle/>
                  <a:p>
                    <a:r>
                      <a:t>633.08</a:t>
                    </a:r>
                  </a:p>
                </c:rich>
              </c:tx>
              <c:showLegendKey val="0"/>
              <c:showVal val="1"/>
              <c:showCatName val="0"/>
              <c:showSerName val="0"/>
              <c:showPercent val="0"/>
              <c:showBubbleSize val="0"/>
            </c:dLbl>
            <c:dLbl>
              <c:idx val="16"/>
              <c:tx>
                <c:rich>
                  <a:bodyPr/>
                  <a:lstStyle/>
                  <a:p>
                    <a:r>
                      <a:t>596.69</a:t>
                    </a:r>
                  </a:p>
                </c:rich>
              </c:tx>
              <c:showLegendKey val="0"/>
              <c:showVal val="1"/>
              <c:showCatName val="0"/>
              <c:showSerName val="0"/>
              <c:showPercent val="0"/>
              <c:showBubbleSize val="0"/>
            </c:dLbl>
            <c:dLbl>
              <c:idx val="17"/>
              <c:tx>
                <c:rich>
                  <a:bodyPr/>
                  <a:lstStyle/>
                  <a:p>
                    <a:r>
                      <a:t>601.16</a:t>
                    </a:r>
                  </a:p>
                </c:rich>
              </c:tx>
              <c:showLegendKey val="0"/>
              <c:showVal val="1"/>
              <c:showCatName val="0"/>
              <c:showSerName val="0"/>
              <c:showPercent val="0"/>
              <c:showBubbleSize val="0"/>
            </c:dLbl>
            <c:dLbl>
              <c:idx val="18"/>
              <c:tx>
                <c:rich>
                  <a:bodyPr/>
                  <a:lstStyle/>
                  <a:p>
                    <a:r>
                      <a:t>843.38</a:t>
                    </a:r>
                  </a:p>
                </c:rich>
              </c:tx>
              <c:showLegendKey val="0"/>
              <c:showVal val="1"/>
              <c:showCatName val="0"/>
              <c:showSerName val="0"/>
              <c:showPercent val="0"/>
              <c:showBubbleSize val="0"/>
            </c:dLbl>
            <c:dLbl>
              <c:idx val="19"/>
              <c:tx>
                <c:rich>
                  <a:bodyPr/>
                  <a:lstStyle/>
                  <a:p>
                    <a:r>
                      <a:t>900.7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Hawaiian Tropic Other Sunscreen Adults Cosmetics Crema 50+ 240Ml</c:v>
                </c:pt>
                <c:pt idx="1">
                  <c:v>Edgewell Hawaiian Tropic Ozono Sunscreen Adults Cosmetics Liquido 50+ 240Ml</c:v>
                </c:pt>
                <c:pt idx="2">
                  <c:v>Edgewell Banana Boat Aqua Protect Sunscreen Adults Sport Crema 50+ 236Ml</c:v>
                </c:pt>
                <c:pt idx="3">
                  <c:v>Edgewell Hawaiian Tropic Island Sport Sunscreen Adults Sport Spray Liquido 50 220Ml</c:v>
                </c:pt>
                <c:pt idx="4">
                  <c:v>Edgewell Hawaiian Tropic Island Sport Sunscreen Adults Sport Liquido 50 240Ml</c:v>
                </c:pt>
                <c:pt idx="5">
                  <c:v>Beiersdorf Eucerin Sunscreen Adults Derma Gel 50+ 50Ml</c:v>
                </c:pt>
                <c:pt idx="6">
                  <c:v>Beiersdorf Eucerin Sunscreen Adults Derma Crema 50+ 50Ml</c:v>
                </c:pt>
                <c:pt idx="7">
                  <c:v>Beiersdorf Nivea Sunscreen Adults Cosmetics Crema 50 50Ml</c:v>
                </c:pt>
                <c:pt idx="8">
                  <c:v>Beiersdorf Nivea Sunscreen Adults Cosmetics Liquido 50 200Ml</c:v>
                </c:pt>
                <c:pt idx="9">
                  <c:v>Beiersdorf Eucerin Sunscreen Adults Derma Gel-Crema 50+ 50Ml</c:v>
                </c:pt>
                <c:pt idx="10">
                  <c:v>Isdin Isdin Sunscreen Adults Derma Crema 50+ 50Ml</c:v>
                </c:pt>
                <c:pt idx="11">
                  <c:v>Isdin Isdin Sunscreen Adults Derma Crema 50 50Ml</c:v>
                </c:pt>
                <c:pt idx="12">
                  <c:v>Isdin Isdin Sunscreen Adults Derma Gel 50+ 250Ml</c:v>
                </c:pt>
                <c:pt idx="13">
                  <c:v>Isdin Isdin Sunscreen Adults Derma Fluido 50+ 50Ml</c:v>
                </c:pt>
                <c:pt idx="14">
                  <c:v>Isdin Isdin Sunscreen Adults Derma Stick 50 10Ml</c:v>
                </c:pt>
                <c:pt idx="15">
                  <c:v>L'Oreal La Roche-Posay Sunscreen Adults Derma Fluido 50+ 50Ml</c:v>
                </c:pt>
                <c:pt idx="16">
                  <c:v>L'Oreal La Roche-Posay Sunscreen Adults Derma Gel 50+ 50Ml</c:v>
                </c:pt>
                <c:pt idx="17">
                  <c:v>L'Oreal La Roche-Posay Sunscreen Adults Derma Crema 50 50Ml</c:v>
                </c:pt>
                <c:pt idx="18">
                  <c:v>L'Oreal La Roche-Posay Sunscreen Adults Derma Crema 50+ 50Ml</c:v>
                </c:pt>
                <c:pt idx="19">
                  <c:v>L'Oreal Vichy Sunscreen Adults Derma Crema 50 300Ml</c:v>
                </c:pt>
              </c:strCache>
            </c:strRef>
          </c:cat>
          <c:val>
            <c:numRef>
              <c:f>Sheet1!$B$2:$B$21</c:f>
              <c:numCache>
                <c:formatCode>General</c:formatCode>
                <c:ptCount val="20"/>
                <c:pt idx="0">
                  <c:v>305.32</c:v>
                </c:pt>
                <c:pt idx="1">
                  <c:v>318.53</c:v>
                </c:pt>
                <c:pt idx="2">
                  <c:v>348.86</c:v>
                </c:pt>
                <c:pt idx="3">
                  <c:v>347.12</c:v>
                </c:pt>
                <c:pt idx="4">
                  <c:v>330.0</c:v>
                </c:pt>
                <c:pt idx="5">
                  <c:v>655.36</c:v>
                </c:pt>
                <c:pt idx="6">
                  <c:v>716.41</c:v>
                </c:pt>
                <c:pt idx="7">
                  <c:v>315.86</c:v>
                </c:pt>
                <c:pt idx="8">
                  <c:v>350.73</c:v>
                </c:pt>
                <c:pt idx="9">
                  <c:v>695.61</c:v>
                </c:pt>
                <c:pt idx="10">
                  <c:v>634.08</c:v>
                </c:pt>
                <c:pt idx="11">
                  <c:v>642.22</c:v>
                </c:pt>
                <c:pt idx="12">
                  <c:v>649.42</c:v>
                </c:pt>
                <c:pt idx="13">
                  <c:v>652.94</c:v>
                </c:pt>
                <c:pt idx="14">
                  <c:v>467.39</c:v>
                </c:pt>
                <c:pt idx="15">
                  <c:v>633.08</c:v>
                </c:pt>
                <c:pt idx="16">
                  <c:v>596.69</c:v>
                </c:pt>
                <c:pt idx="17">
                  <c:v>601.16</c:v>
                </c:pt>
                <c:pt idx="18">
                  <c:v>843.38</c:v>
                </c:pt>
                <c:pt idx="19">
                  <c:v>900.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0.0</a:t>
                    </a:r>
                  </a:p>
                </c:rich>
              </c:tx>
              <c:showLegendKey val="0"/>
              <c:showVal val="1"/>
              <c:showCatName val="0"/>
              <c:showSerName val="0"/>
              <c:showPercent val="0"/>
              <c:showBubbleSize val="0"/>
            </c:dLbl>
            <c:dLbl>
              <c:idx val="1"/>
              <c:tx>
                <c:rich>
                  <a:bodyPr/>
                  <a:lstStyle/>
                  <a:p>
                    <a:r>
                      <a:t>70.09</a:t>
                    </a:r>
                  </a:p>
                </c:rich>
              </c:tx>
              <c:showLegendKey val="0"/>
              <c:showVal val="1"/>
              <c:showCatName val="0"/>
              <c:showSerName val="0"/>
              <c:showPercent val="0"/>
              <c:showBubbleSize val="0"/>
            </c:dLbl>
            <c:dLbl>
              <c:idx val="2"/>
              <c:tx>
                <c:rich>
                  <a:bodyPr/>
                  <a:lstStyle/>
                  <a:p>
                    <a:r>
                      <a:t>96.8</a:t>
                    </a:r>
                  </a:p>
                </c:rich>
              </c:tx>
              <c:showLegendKey val="0"/>
              <c:showVal val="1"/>
              <c:showCatName val="0"/>
              <c:showSerName val="0"/>
              <c:showPercent val="0"/>
              <c:showBubbleSize val="0"/>
            </c:dLbl>
            <c:dLbl>
              <c:idx val="3"/>
              <c:tx>
                <c:rich>
                  <a:bodyPr/>
                  <a:lstStyle/>
                  <a:p>
                    <a:r>
                      <a:t>234.59</a:t>
                    </a:r>
                  </a:p>
                </c:rich>
              </c:tx>
              <c:showLegendKey val="0"/>
              <c:showVal val="1"/>
              <c:showCatName val="0"/>
              <c:showSerName val="0"/>
              <c:showPercent val="0"/>
              <c:showBubbleSize val="0"/>
            </c:dLbl>
            <c:dLbl>
              <c:idx val="4"/>
              <c:tx>
                <c:rich>
                  <a:bodyPr/>
                  <a:lstStyle/>
                  <a:p>
                    <a:r>
                      <a:t>220.0</a:t>
                    </a:r>
                  </a:p>
                </c:rich>
              </c:tx>
              <c:showLegendKey val="0"/>
              <c:showVal val="1"/>
              <c:showCatName val="0"/>
              <c:showSerName val="0"/>
              <c:showPercent val="0"/>
              <c:showBubbleSize val="0"/>
            </c:dLbl>
            <c:dLbl>
              <c:idx val="5"/>
              <c:tx>
                <c:rich>
                  <a:bodyPr/>
                  <a:lstStyle/>
                  <a:p>
                    <a:r>
                      <a:t>188.69</a:t>
                    </a:r>
                  </a:p>
                </c:rich>
              </c:tx>
              <c:showLegendKey val="0"/>
              <c:showVal val="1"/>
              <c:showCatName val="0"/>
              <c:showSerName val="0"/>
              <c:showPercent val="0"/>
              <c:showBubbleSize val="0"/>
            </c:dLbl>
            <c:dLbl>
              <c:idx val="6"/>
              <c:tx>
                <c:rich>
                  <a:bodyPr/>
                  <a:lstStyle/>
                  <a:p>
                    <a:r>
                      <a:t>294.01</a:t>
                    </a:r>
                  </a:p>
                </c:rich>
              </c:tx>
              <c:showLegendKey val="0"/>
              <c:showVal val="1"/>
              <c:showCatName val="0"/>
              <c:showSerName val="0"/>
              <c:showPercent val="0"/>
              <c:showBubbleSize val="0"/>
            </c:dLbl>
            <c:dLbl>
              <c:idx val="7"/>
              <c:tx>
                <c:rich>
                  <a:bodyPr/>
                  <a:lstStyle/>
                  <a:p>
                    <a:r>
                      <a:t>232.54</a:t>
                    </a:r>
                  </a:p>
                </c:rich>
              </c:tx>
              <c:showLegendKey val="0"/>
              <c:showVal val="1"/>
              <c:showCatName val="0"/>
              <c:showSerName val="0"/>
              <c:showPercent val="0"/>
              <c:showBubbleSize val="0"/>
            </c:dLbl>
            <c:dLbl>
              <c:idx val="8"/>
              <c:tx>
                <c:rich>
                  <a:bodyPr/>
                  <a:lstStyle/>
                  <a:p>
                    <a:r>
                      <a:t>295.0</a:t>
                    </a:r>
                  </a:p>
                </c:rich>
              </c:tx>
              <c:showLegendKey val="0"/>
              <c:showVal val="1"/>
              <c:showCatName val="0"/>
              <c:showSerName val="0"/>
              <c:showPercent val="0"/>
              <c:showBubbleSize val="0"/>
            </c:dLbl>
            <c:dLbl>
              <c:idx val="9"/>
              <c:tx>
                <c:rich>
                  <a:bodyPr/>
                  <a:lstStyle/>
                  <a:p>
                    <a:r>
                      <a:t>362.53</a:t>
                    </a:r>
                  </a:p>
                </c:rich>
              </c:tx>
              <c:showLegendKey val="0"/>
              <c:showVal val="1"/>
              <c:showCatName val="0"/>
              <c:showSerName val="0"/>
              <c:showPercent val="0"/>
              <c:showBubbleSize val="0"/>
            </c:dLbl>
            <c:dLbl>
              <c:idx val="10"/>
              <c:tx>
                <c:rich>
                  <a:bodyPr/>
                  <a:lstStyle/>
                  <a:p>
                    <a:r>
                      <a:t>453.61</a:t>
                    </a:r>
                  </a:p>
                </c:rich>
              </c:tx>
              <c:showLegendKey val="0"/>
              <c:showVal val="1"/>
              <c:showCatName val="0"/>
              <c:showSerName val="0"/>
              <c:showPercent val="0"/>
              <c:showBubbleSize val="0"/>
            </c:dLbl>
            <c:dLbl>
              <c:idx val="11"/>
              <c:tx>
                <c:rich>
                  <a:bodyPr/>
                  <a:lstStyle/>
                  <a:p>
                    <a:r>
                      <a:t>450.0</a:t>
                    </a:r>
                  </a:p>
                </c:rich>
              </c:tx>
              <c:showLegendKey val="0"/>
              <c:showVal val="1"/>
              <c:showCatName val="0"/>
              <c:showSerName val="0"/>
              <c:showPercent val="0"/>
              <c:showBubbleSize val="0"/>
            </c:dLbl>
            <c:dLbl>
              <c:idx val="12"/>
              <c:tx>
                <c:rich>
                  <a:bodyPr/>
                  <a:lstStyle/>
                  <a:p>
                    <a:r>
                      <a:t>155.62</a:t>
                    </a:r>
                  </a:p>
                </c:rich>
              </c:tx>
              <c:showLegendKey val="0"/>
              <c:showVal val="1"/>
              <c:showCatName val="0"/>
              <c:showSerName val="0"/>
              <c:showPercent val="0"/>
              <c:showBubbleSize val="0"/>
            </c:dLbl>
            <c:dLbl>
              <c:idx val="13"/>
              <c:tx>
                <c:rich>
                  <a:bodyPr/>
                  <a:lstStyle/>
                  <a:p>
                    <a:r>
                      <a:t>118.11</a:t>
                    </a:r>
                  </a:p>
                </c:rich>
              </c:tx>
              <c:showLegendKey val="0"/>
              <c:showVal val="1"/>
              <c:showCatName val="0"/>
              <c:showSerName val="0"/>
              <c:showPercent val="0"/>
              <c:showBubbleSize val="0"/>
            </c:dLbl>
            <c:dLbl>
              <c:idx val="14"/>
              <c:tx>
                <c:rich>
                  <a:bodyPr/>
                  <a:lstStyle/>
                  <a:p>
                    <a:r>
                      <a:t>178.16</a:t>
                    </a:r>
                  </a:p>
                </c:rich>
              </c:tx>
              <c:showLegendKey val="0"/>
              <c:showVal val="1"/>
              <c:showCatName val="0"/>
              <c:showSerName val="0"/>
              <c:showPercent val="0"/>
              <c:showBubbleSize val="0"/>
            </c:dLbl>
            <c:dLbl>
              <c:idx val="15"/>
              <c:tx>
                <c:rich>
                  <a:bodyPr/>
                  <a:lstStyle/>
                  <a:p>
                    <a:r>
                      <a:t>156.83</a:t>
                    </a:r>
                  </a:p>
                </c:rich>
              </c:tx>
              <c:showLegendKey val="0"/>
              <c:showVal val="1"/>
              <c:showCatName val="0"/>
              <c:showSerName val="0"/>
              <c:showPercent val="0"/>
              <c:showBubbleSize val="0"/>
            </c:dLbl>
            <c:dLbl>
              <c:idx val="16"/>
              <c:tx>
                <c:rich>
                  <a:bodyPr/>
                  <a:lstStyle/>
                  <a:p>
                    <a:r>
                      <a:t>15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Hawaiian Tropic Other Sunscreen Adults Cosmetics Crema 50+ 240Ml</c:v>
                </c:pt>
                <c:pt idx="1">
                  <c:v>Edgewell Hawaiian Tropic Island Sport Sunscreen Adults Sport Liquido 50 60Ml</c:v>
                </c:pt>
                <c:pt idx="2">
                  <c:v>Edgewell Banana Boat Advanced Protection Sunscreen Adults Cosmetics Liquido 50+ 60Ml</c:v>
                </c:pt>
                <c:pt idx="3">
                  <c:v>Edgewell Banana Boat Mineral Sunscreen Adults Cosmetics Locion 50 60Ml</c:v>
                </c:pt>
                <c:pt idx="4">
                  <c:v>Edgewell Hawaiian Tropic Island Sport Sunscreen Adults Sport Spray Liquido 50 220Ml</c:v>
                </c:pt>
                <c:pt idx="5">
                  <c:v>Beiersdorf Nivea Sunscreen Adults Cosmetics Liquido 50+ 125Ml</c:v>
                </c:pt>
                <c:pt idx="6">
                  <c:v>Beiersdorf Nivea Sunscreen Adults Cosmetics Crema 50+ 200Ml</c:v>
                </c:pt>
                <c:pt idx="7">
                  <c:v>Beiersdorf Nivea Sunscreen Adults Cosmetics Crema 50 50Ml</c:v>
                </c:pt>
                <c:pt idx="8">
                  <c:v>Beiersdorf Nivea Sunscreen Kids Cosmetics Liquido 50+ 200Ml</c:v>
                </c:pt>
                <c:pt idx="9">
                  <c:v>Beiersdorf Nivea Sunscreen Adults Cosmetics Spray Liquido 50 200Ml</c:v>
                </c:pt>
                <c:pt idx="10">
                  <c:v>Isdin Isdin Sunscreen Adults Derma Crema 50 50Ml</c:v>
                </c:pt>
                <c:pt idx="11">
                  <c:v>Isdin Isdin Sunscreen Adults Derma Crema 50+ 50Ml</c:v>
                </c:pt>
                <c:pt idx="12">
                  <c:v>Others Fabricante Unif. Others Marca Unif. Sunscreen Adults Cosmetics Crema 50+ 125Ml</c:v>
                </c:pt>
                <c:pt idx="13">
                  <c:v>Others Fabricante Unif. Others Marca Unif. Sunscreen Adults Cosmetics Crema 50 100Ml</c:v>
                </c:pt>
                <c:pt idx="14">
                  <c:v>Others Fabricante Unif. Others Marca Unif. Sunscreen Adults Derma Crema 50+ 125Ml</c:v>
                </c:pt>
                <c:pt idx="15">
                  <c:v>Others Fabricante Unif. Others Marca Unif. Sunscreen Kids Derma Crema 50+ 125Ml</c:v>
                </c:pt>
                <c:pt idx="16">
                  <c:v>Others Fabricante Unif. Others Marca Unif. Sunscreen Adults Cosmetics Spray 50+ 170Ml</c:v>
                </c:pt>
              </c:strCache>
            </c:strRef>
          </c:cat>
          <c:val>
            <c:numRef>
              <c:f>Sheet1!$B$2:$B$18</c:f>
              <c:numCache>
                <c:formatCode>General</c:formatCode>
                <c:ptCount val="17"/>
                <c:pt idx="0">
                  <c:v>240.0</c:v>
                </c:pt>
                <c:pt idx="1">
                  <c:v>70.09</c:v>
                </c:pt>
                <c:pt idx="2">
                  <c:v>96.8</c:v>
                </c:pt>
                <c:pt idx="3">
                  <c:v>234.59</c:v>
                </c:pt>
                <c:pt idx="4">
                  <c:v>220.0</c:v>
                </c:pt>
                <c:pt idx="5">
                  <c:v>188.69</c:v>
                </c:pt>
                <c:pt idx="6">
                  <c:v>294.01</c:v>
                </c:pt>
                <c:pt idx="7">
                  <c:v>232.54</c:v>
                </c:pt>
                <c:pt idx="8">
                  <c:v>295.0</c:v>
                </c:pt>
                <c:pt idx="9">
                  <c:v>362.53</c:v>
                </c:pt>
                <c:pt idx="10">
                  <c:v>453.61</c:v>
                </c:pt>
                <c:pt idx="11">
                  <c:v>450.0</c:v>
                </c:pt>
                <c:pt idx="12">
                  <c:v>155.62</c:v>
                </c:pt>
                <c:pt idx="13">
                  <c:v>118.11</c:v>
                </c:pt>
                <c:pt idx="14">
                  <c:v>178.16</c:v>
                </c:pt>
                <c:pt idx="15">
                  <c:v>156.83</c:v>
                </c:pt>
                <c:pt idx="16">
                  <c:v>15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1</a:t>
                    </a:r>
                  </a:p>
                </c:rich>
              </c:tx>
              <c:showLegendKey val="0"/>
              <c:showVal val="1"/>
              <c:showCatName val="0"/>
              <c:showSerName val="0"/>
              <c:showPercent val="0"/>
              <c:showBubbleSize val="0"/>
            </c:dLbl>
            <c:dLbl>
              <c:idx val="1"/>
              <c:tx>
                <c:rich>
                  <a:bodyPr/>
                  <a:lstStyle/>
                  <a:p>
                    <a:r>
                      <a:t>312.14</a:t>
                    </a:r>
                  </a:p>
                </c:rich>
              </c:tx>
              <c:showLegendKey val="0"/>
              <c:showVal val="1"/>
              <c:showCatName val="0"/>
              <c:showSerName val="0"/>
              <c:showPercent val="0"/>
              <c:showBubbleSize val="0"/>
            </c:dLbl>
            <c:dLbl>
              <c:idx val="2"/>
              <c:tx>
                <c:rich>
                  <a:bodyPr/>
                  <a:lstStyle/>
                  <a:p>
                    <a:r>
                      <a:t>305.29</a:t>
                    </a:r>
                  </a:p>
                </c:rich>
              </c:tx>
              <c:showLegendKey val="0"/>
              <c:showVal val="1"/>
              <c:showCatName val="0"/>
              <c:showSerName val="0"/>
              <c:showPercent val="0"/>
              <c:showBubbleSize val="0"/>
            </c:dLbl>
            <c:dLbl>
              <c:idx val="3"/>
              <c:tx>
                <c:rich>
                  <a:bodyPr/>
                  <a:lstStyle/>
                  <a:p>
                    <a:r>
                      <a:t>281.61</a:t>
                    </a:r>
                  </a:p>
                </c:rich>
              </c:tx>
              <c:showLegendKey val="0"/>
              <c:showVal val="1"/>
              <c:showCatName val="0"/>
              <c:showSerName val="0"/>
              <c:showPercent val="0"/>
              <c:showBubbleSize val="0"/>
            </c:dLbl>
            <c:dLbl>
              <c:idx val="4"/>
              <c:tx>
                <c:rich>
                  <a:bodyPr/>
                  <a:lstStyle/>
                  <a:p>
                    <a:r>
                      <a:t>326.59</a:t>
                    </a:r>
                  </a:p>
                </c:rich>
              </c:tx>
              <c:showLegendKey val="0"/>
              <c:showVal val="1"/>
              <c:showCatName val="0"/>
              <c:showSerName val="0"/>
              <c:showPercent val="0"/>
              <c:showBubbleSize val="0"/>
            </c:dLbl>
            <c:dLbl>
              <c:idx val="5"/>
              <c:tx>
                <c:rich>
                  <a:bodyPr/>
                  <a:lstStyle/>
                  <a:p>
                    <a:r>
                      <a:t>305.54</a:t>
                    </a:r>
                  </a:p>
                </c:rich>
              </c:tx>
              <c:showLegendKey val="0"/>
              <c:showVal val="1"/>
              <c:showCatName val="0"/>
              <c:showSerName val="0"/>
              <c:showPercent val="0"/>
              <c:showBubbleSize val="0"/>
            </c:dLbl>
            <c:dLbl>
              <c:idx val="6"/>
              <c:tx>
                <c:rich>
                  <a:bodyPr/>
                  <a:lstStyle/>
                  <a:p>
                    <a:r>
                      <a:t>271.17</a:t>
                    </a:r>
                  </a:p>
                </c:rich>
              </c:tx>
              <c:showLegendKey val="0"/>
              <c:showVal val="1"/>
              <c:showCatName val="0"/>
              <c:showSerName val="0"/>
              <c:showPercent val="0"/>
              <c:showBubbleSize val="0"/>
            </c:dLbl>
            <c:dLbl>
              <c:idx val="7"/>
              <c:tx>
                <c:rich>
                  <a:bodyPr/>
                  <a:lstStyle/>
                  <a:p>
                    <a:r>
                      <a:t>300.61</a:t>
                    </a:r>
                  </a:p>
                </c:rich>
              </c:tx>
              <c:showLegendKey val="0"/>
              <c:showVal val="1"/>
              <c:showCatName val="0"/>
              <c:showSerName val="0"/>
              <c:showPercent val="0"/>
              <c:showBubbleSize val="0"/>
            </c:dLbl>
            <c:dLbl>
              <c:idx val="8"/>
              <c:tx>
                <c:rich>
                  <a:bodyPr/>
                  <a:lstStyle/>
                  <a:p>
                    <a:r>
                      <a:t>305.45</a:t>
                    </a:r>
                  </a:p>
                </c:rich>
              </c:tx>
              <c:showLegendKey val="0"/>
              <c:showVal val="1"/>
              <c:showCatName val="0"/>
              <c:showSerName val="0"/>
              <c:showPercent val="0"/>
              <c:showBubbleSize val="0"/>
            </c:dLbl>
            <c:dLbl>
              <c:idx val="9"/>
              <c:tx>
                <c:rich>
                  <a:bodyPr/>
                  <a:lstStyle/>
                  <a:p>
                    <a:r>
                      <a:t>187.84</a:t>
                    </a:r>
                  </a:p>
                </c:rich>
              </c:tx>
              <c:showLegendKey val="0"/>
              <c:showVal val="1"/>
              <c:showCatName val="0"/>
              <c:showSerName val="0"/>
              <c:showPercent val="0"/>
              <c:showBubbleSize val="0"/>
            </c:dLbl>
            <c:dLbl>
              <c:idx val="10"/>
              <c:tx>
                <c:rich>
                  <a:bodyPr/>
                  <a:lstStyle/>
                  <a:p>
                    <a:r>
                      <a:t>227.46</a:t>
                    </a:r>
                  </a:p>
                </c:rich>
              </c:tx>
              <c:showLegendKey val="0"/>
              <c:showVal val="1"/>
              <c:showCatName val="0"/>
              <c:showSerName val="0"/>
              <c:showPercent val="0"/>
              <c:showBubbleSize val="0"/>
            </c:dLbl>
            <c:dLbl>
              <c:idx val="11"/>
              <c:tx>
                <c:rich>
                  <a:bodyPr/>
                  <a:lstStyle/>
                  <a:p>
                    <a:r>
                      <a:t>325.47</a:t>
                    </a:r>
                  </a:p>
                </c:rich>
              </c:tx>
              <c:showLegendKey val="0"/>
              <c:showVal val="1"/>
              <c:showCatName val="0"/>
              <c:showSerName val="0"/>
              <c:showPercent val="0"/>
              <c:showBubbleSize val="0"/>
            </c:dLbl>
            <c:dLbl>
              <c:idx val="12"/>
              <c:tx>
                <c:rich>
                  <a:bodyPr/>
                  <a:lstStyle/>
                  <a:p>
                    <a:r>
                      <a:t>271.09</a:t>
                    </a:r>
                  </a:p>
                </c:rich>
              </c:tx>
              <c:showLegendKey val="0"/>
              <c:showVal val="1"/>
              <c:showCatName val="0"/>
              <c:showSerName val="0"/>
              <c:showPercent val="0"/>
              <c:showBubbleSize val="0"/>
            </c:dLbl>
            <c:dLbl>
              <c:idx val="13"/>
              <c:tx>
                <c:rich>
                  <a:bodyPr/>
                  <a:lstStyle/>
                  <a:p>
                    <a:r>
                      <a:t>618.9</a:t>
                    </a:r>
                  </a:p>
                </c:rich>
              </c:tx>
              <c:showLegendKey val="0"/>
              <c:showVal val="1"/>
              <c:showCatName val="0"/>
              <c:showSerName val="0"/>
              <c:showPercent val="0"/>
              <c:showBubbleSize val="0"/>
            </c:dLbl>
            <c:dLbl>
              <c:idx val="14"/>
              <c:tx>
                <c:rich>
                  <a:bodyPr/>
                  <a:lstStyle/>
                  <a:p>
                    <a:r>
                      <a:t>600.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Other Sunscreen Adults Cosmetics Crema 50+ 240Ml</c:v>
                </c:pt>
                <c:pt idx="2">
                  <c:v>Edgewell Hawaiian Tropic Island Sport Sunscreen Adults Sport Liquido 50 240Ml</c:v>
                </c:pt>
                <c:pt idx="3">
                  <c:v>Edgewell Banana Boat Aqua Protect Sunscreen Adults Sport Crema 50+ 236Ml</c:v>
                </c:pt>
                <c:pt idx="4">
                  <c:v>Edgewell Banana Boat Banded Pack Banded Pack 2X Sunscreen Multi 50+ 170Ml</c:v>
                </c:pt>
                <c:pt idx="5">
                  <c:v>Beiersdorf Nivea Sunscreen Adults Cosmetics Crema 50+ 200Ml</c:v>
                </c:pt>
                <c:pt idx="6">
                  <c:v>Beiersdorf Nivea Sunscreen Adults Cosmetics Crema 50 50Ml</c:v>
                </c:pt>
                <c:pt idx="7">
                  <c:v>Beiersdorf Nivea Sunscreen Adults Cosmetics Liquido 50 200Ml</c:v>
                </c:pt>
                <c:pt idx="8">
                  <c:v>Beiersdorf Nivea Sunscreen Adults Cosmetics Gel 50+ 200Ml</c:v>
                </c:pt>
                <c:pt idx="9">
                  <c:v>Beiersdorf Nivea Sunscreen Adults Cosmetics Liquido 50+ 125Ml</c:v>
                </c:pt>
                <c:pt idx="10">
                  <c:v>L'Oreal Garnier Sunscreen Adults Cosmetics Crema 50+ 40Ml</c:v>
                </c:pt>
                <c:pt idx="11">
                  <c:v>L'Oreal Loreal Paris Sunscreen Adults Derma Liquido 50+ 40Ml</c:v>
                </c:pt>
                <c:pt idx="12">
                  <c:v>L'Oreal Garnier Sunscreen Adults Cosmetics Serum 50+ 40Ml</c:v>
                </c:pt>
                <c:pt idx="13">
                  <c:v>L'Oreal La Roche-Posay Sunscreen Adults Derma Fluido 50+ 50Ml</c:v>
                </c:pt>
                <c:pt idx="14">
                  <c:v>L'Oreal La Roche-Posay Sunscreen Adults Derma Gel 50+ 50Ml</c:v>
                </c:pt>
              </c:strCache>
            </c:strRef>
          </c:cat>
          <c:val>
            <c:numRef>
              <c:f>Sheet1!$B$2:$B$16</c:f>
              <c:numCache>
                <c:formatCode>General</c:formatCode>
                <c:ptCount val="15"/>
                <c:pt idx="0">
                  <c:v>305.1</c:v>
                </c:pt>
                <c:pt idx="1">
                  <c:v>312.14</c:v>
                </c:pt>
                <c:pt idx="2">
                  <c:v>305.29</c:v>
                </c:pt>
                <c:pt idx="3">
                  <c:v>281.61</c:v>
                </c:pt>
                <c:pt idx="4">
                  <c:v>326.59</c:v>
                </c:pt>
                <c:pt idx="5">
                  <c:v>305.54</c:v>
                </c:pt>
                <c:pt idx="6">
                  <c:v>271.17</c:v>
                </c:pt>
                <c:pt idx="7">
                  <c:v>300.61</c:v>
                </c:pt>
                <c:pt idx="8">
                  <c:v>305.45</c:v>
                </c:pt>
                <c:pt idx="9">
                  <c:v>187.84</c:v>
                </c:pt>
                <c:pt idx="10">
                  <c:v>227.46</c:v>
                </c:pt>
                <c:pt idx="11">
                  <c:v>325.47</c:v>
                </c:pt>
                <c:pt idx="12">
                  <c:v>271.09</c:v>
                </c:pt>
                <c:pt idx="13">
                  <c:v>618.9</c:v>
                </c:pt>
                <c:pt idx="14">
                  <c:v>600.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664.55</a:t>
                    </a:r>
                  </a:p>
                </c:rich>
              </c:tx>
              <c:showLegendKey val="0"/>
              <c:showVal val="1"/>
              <c:showCatName val="0"/>
              <c:showSerName val="0"/>
              <c:showPercent val="0"/>
              <c:showBubbleSize val="0"/>
            </c:dLbl>
            <c:dLbl>
              <c:idx val="2"/>
              <c:tx>
                <c:rich>
                  <a:bodyPr/>
                  <a:lstStyle/>
                  <a:p>
                    <a:r>
                      <a:t>589.67</a:t>
                    </a:r>
                  </a:p>
                </c:rich>
              </c:tx>
              <c:showLegendKey val="0"/>
              <c:showVal val="1"/>
              <c:showCatName val="0"/>
              <c:showSerName val="0"/>
              <c:showPercent val="0"/>
              <c:showBubbleSize val="0"/>
            </c:dLbl>
            <c:dLbl>
              <c:idx val="3"/>
              <c:tx>
                <c:rich>
                  <a:bodyPr/>
                  <a:lstStyle/>
                  <a:p>
                    <a:r>
                      <a:t>534.15</a:t>
                    </a:r>
                  </a:p>
                </c:rich>
              </c:tx>
              <c:showLegendKey val="0"/>
              <c:showVal val="1"/>
              <c:showCatName val="0"/>
              <c:showSerName val="0"/>
              <c:showPercent val="0"/>
              <c:showBubbleSize val="0"/>
            </c:dLbl>
            <c:dLbl>
              <c:idx val="4"/>
              <c:tx>
                <c:rich>
                  <a:bodyPr/>
                  <a:lstStyle/>
                  <a:p>
                    <a:r>
                      <a:t>818.35</a:t>
                    </a:r>
                  </a:p>
                </c:rich>
              </c:tx>
              <c:showLegendKey val="0"/>
              <c:showVal val="1"/>
              <c:showCatName val="0"/>
              <c:showSerName val="0"/>
              <c:showPercent val="0"/>
              <c:showBubbleSize val="0"/>
            </c:dLbl>
            <c:dLbl>
              <c:idx val="5"/>
              <c:tx>
                <c:rich>
                  <a:bodyPr/>
                  <a:lstStyle/>
                  <a:p>
                    <a:r>
                      <a:t>702.91</a:t>
                    </a:r>
                  </a:p>
                </c:rich>
              </c:tx>
              <c:showLegendKey val="0"/>
              <c:showVal val="1"/>
              <c:showCatName val="0"/>
              <c:showSerName val="0"/>
              <c:showPercent val="0"/>
              <c:showBubbleSize val="0"/>
            </c:dLbl>
            <c:dLbl>
              <c:idx val="6"/>
              <c:tx>
                <c:rich>
                  <a:bodyPr/>
                  <a:lstStyle/>
                  <a:p>
                    <a:r>
                      <a:t>705.28</a:t>
                    </a:r>
                  </a:p>
                </c:rich>
              </c:tx>
              <c:showLegendKey val="0"/>
              <c:showVal val="1"/>
              <c:showCatName val="0"/>
              <c:showSerName val="0"/>
              <c:showPercent val="0"/>
              <c:showBubbleSize val="0"/>
            </c:dLbl>
            <c:dLbl>
              <c:idx val="7"/>
              <c:tx>
                <c:rich>
                  <a:bodyPr/>
                  <a:lstStyle/>
                  <a:p>
                    <a:r>
                      <a:t>155.71</a:t>
                    </a:r>
                  </a:p>
                </c:rich>
              </c:tx>
              <c:showLegendKey val="0"/>
              <c:showVal val="1"/>
              <c:showCatName val="0"/>
              <c:showSerName val="0"/>
              <c:showPercent val="0"/>
              <c:showBubbleSize val="0"/>
            </c:dLbl>
            <c:dLbl>
              <c:idx val="8"/>
              <c:tx>
                <c:rich>
                  <a:bodyPr/>
                  <a:lstStyle/>
                  <a:p>
                    <a:r>
                      <a:t>234.37</a:t>
                    </a:r>
                  </a:p>
                </c:rich>
              </c:tx>
              <c:showLegendKey val="0"/>
              <c:showVal val="1"/>
              <c:showCatName val="0"/>
              <c:showSerName val="0"/>
              <c:showPercent val="0"/>
              <c:showBubbleSize val="0"/>
            </c:dLbl>
            <c:dLbl>
              <c:idx val="9"/>
              <c:tx>
                <c:rich>
                  <a:bodyPr/>
                  <a:lstStyle/>
                  <a:p>
                    <a:r>
                      <a:t>80.21</a:t>
                    </a:r>
                  </a:p>
                </c:rich>
              </c:tx>
              <c:showLegendKey val="0"/>
              <c:showVal val="1"/>
              <c:showCatName val="0"/>
              <c:showSerName val="0"/>
              <c:showPercent val="0"/>
              <c:showBubbleSize val="0"/>
            </c:dLbl>
            <c:dLbl>
              <c:idx val="10"/>
              <c:tx>
                <c:rich>
                  <a:bodyPr/>
                  <a:lstStyle/>
                  <a:p>
                    <a:r>
                      <a:t>371.44</a:t>
                    </a:r>
                  </a:p>
                </c:rich>
              </c:tx>
              <c:showLegendKey val="0"/>
              <c:showVal val="1"/>
              <c:showCatName val="0"/>
              <c:showSerName val="0"/>
              <c:showPercent val="0"/>
              <c:showBubbleSize val="0"/>
            </c:dLbl>
            <c:dLbl>
              <c:idx val="11"/>
              <c:tx>
                <c:rich>
                  <a:bodyPr/>
                  <a:lstStyle/>
                  <a:p>
                    <a:r>
                      <a:t>73.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Tanning Sunscreen Adults Cosmetics Aceite 15 - 19 240Ml</c:v>
                </c:pt>
                <c:pt idx="1">
                  <c:v>Isdin Isdin Sunscreen Adults Derma Spray Aceite 50 200Ml</c:v>
                </c:pt>
                <c:pt idx="2">
                  <c:v>Isdin Isdin Sunscreen Adults Derma Aceite 30 200Ml</c:v>
                </c:pt>
                <c:pt idx="3">
                  <c:v>L'Oreal La Roche-Posay Sunscreen Adults Derma Spray Aceite 50 75Ml</c:v>
                </c:pt>
                <c:pt idx="4">
                  <c:v>L'Oreal La Roche-Posay Sunscreen Adults Derma Spray Aceite 50+ 200Ml</c:v>
                </c:pt>
                <c:pt idx="5">
                  <c:v>L'Oreal Vichy Sunscreen Adults Derma Spray Aceite 50 50Ml</c:v>
                </c:pt>
                <c:pt idx="6">
                  <c:v>L'Oreal Vichy Sunscreen Adults Derma Spray Aceite 50+ 200Ml</c:v>
                </c:pt>
                <c:pt idx="7">
                  <c:v>Others Fabricante Unif. Others Marca Unif. Sunscreen Adults Cosmetics Aceite 30 - 49 75Ml</c:v>
                </c:pt>
                <c:pt idx="8">
                  <c:v>Others Fabricante Unif. Others Marca Unif. Sunscreen Adults Cosmetics Aceite 30 - 49 150Ml</c:v>
                </c:pt>
                <c:pt idx="9">
                  <c:v>Others Fabricante Unif. Others Marca Unif. Sunscreen Adults Derma Spray Aceite 50+ 150Ml</c:v>
                </c:pt>
                <c:pt idx="10">
                  <c:v>Others Fabricante Unif. Others Marca Unif. Sunscreen Adults Cosmetics Spray Aceite 30 200Ml</c:v>
                </c:pt>
                <c:pt idx="11">
                  <c:v>Others Fabricante Unif. Others Marca Unif. Sunscreen Kids Derma Spray Aceite 50+ 150Ml</c:v>
                </c:pt>
              </c:strCache>
            </c:strRef>
          </c:cat>
          <c:val>
            <c:numRef>
              <c:f>Sheet1!$B$2:$B$13</c:f>
              <c:numCache>
                <c:formatCode>General</c:formatCode>
                <c:ptCount val="12"/>
                <c:pt idx="0">
                  <c:v>399.0</c:v>
                </c:pt>
                <c:pt idx="1">
                  <c:v>664.55</c:v>
                </c:pt>
                <c:pt idx="2">
                  <c:v>589.67</c:v>
                </c:pt>
                <c:pt idx="3">
                  <c:v>534.15</c:v>
                </c:pt>
                <c:pt idx="4">
                  <c:v>818.35</c:v>
                </c:pt>
                <c:pt idx="5">
                  <c:v>702.91</c:v>
                </c:pt>
                <c:pt idx="6">
                  <c:v>705.28</c:v>
                </c:pt>
                <c:pt idx="7">
                  <c:v>155.71</c:v>
                </c:pt>
                <c:pt idx="8">
                  <c:v>234.37</c:v>
                </c:pt>
                <c:pt idx="9">
                  <c:v>80.21</c:v>
                </c:pt>
                <c:pt idx="10">
                  <c:v>371.44</c:v>
                </c:pt>
                <c:pt idx="11">
                  <c:v>73.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6.8</a:t>
                    </a:r>
                  </a:p>
                </c:rich>
              </c:tx>
              <c:dLblPos val="t"/>
              <c:showLegendKey val="0"/>
              <c:showVal val="1"/>
              <c:showCatName val="0"/>
              <c:showSerName val="0"/>
              <c:showPercent val="0"/>
              <c:showBubbleSize val="0"/>
            </c:dLbl>
            <c:dLbl>
              <c:idx val="1"/>
              <c:tx>
                <c:rich>
                  <a:bodyPr/>
                  <a:lstStyle/>
                  <a:p>
                    <a:r>
                      <a:t>234.59</a:t>
                    </a:r>
                  </a:p>
                </c:rich>
              </c:tx>
              <c:dLblPos val="t"/>
              <c:showLegendKey val="0"/>
              <c:showVal val="1"/>
              <c:showCatName val="0"/>
              <c:showSerName val="0"/>
              <c:showPercent val="0"/>
              <c:showBubbleSize val="0"/>
            </c:dLbl>
            <c:dLbl>
              <c:idx val="2"/>
              <c:tx>
                <c:rich>
                  <a:bodyPr/>
                  <a:lstStyle/>
                  <a:p>
                    <a:r>
                      <a:t>205.93</a:t>
                    </a:r>
                  </a:p>
                </c:rich>
              </c:tx>
              <c:dLblPos val="t"/>
              <c:showLegendKey val="0"/>
              <c:showVal val="1"/>
              <c:showCatName val="0"/>
              <c:showSerName val="0"/>
              <c:showPercent val="0"/>
              <c:showBubbleSize val="0"/>
            </c:dLbl>
            <c:dLbl>
              <c:idx val="3"/>
              <c:tx>
                <c:rich>
                  <a:bodyPr/>
                  <a:lstStyle/>
                  <a:p>
                    <a:r>
                      <a:t>12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Advanced Protection Sunscreen Adults Cosmetics Liquido 50+ 60Ml</c:v>
                </c:pt>
                <c:pt idx="1">
                  <c:v>Edgewell Banana Boat Mineral Sunscreen Adults Cosmetics Locion 50 60Ml</c:v>
                </c:pt>
                <c:pt idx="2">
                  <c:v>Edgewell Banana Boat Banded Pack Banded Pack 2X Sunscreen Multi 50+ 170Ml</c:v>
                </c:pt>
                <c:pt idx="3">
                  <c:v>Edgewell Banana Boat Gentle Protect Sunscreen Adults Cosmetics Locion 50 180Ml</c:v>
                </c:pt>
              </c:strCache>
            </c:strRef>
          </c:cat>
          <c:val>
            <c:numRef>
              <c:f>Sheet1!$B$2:$B$5</c:f>
              <c:numCache>
                <c:formatCode>General</c:formatCode>
                <c:ptCount val="4"/>
                <c:pt idx="0">
                  <c:v>96.8</c:v>
                </c:pt>
                <c:pt idx="1">
                  <c:v>234.59</c:v>
                </c:pt>
                <c:pt idx="2">
                  <c:v>205.93</c:v>
                </c:pt>
                <c:pt idx="3">
                  <c:v>1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2.7</a:t>
                    </a:r>
                  </a:p>
                </c:rich>
              </c:tx>
              <c:showLegendKey val="0"/>
              <c:showVal val="1"/>
              <c:showCatName val="0"/>
              <c:showSerName val="0"/>
              <c:showPercent val="0"/>
              <c:showBubbleSize val="0"/>
            </c:dLbl>
            <c:dLbl>
              <c:idx val="1"/>
              <c:tx>
                <c:rich>
                  <a:bodyPr/>
                  <a:lstStyle/>
                  <a:p>
                    <a:r>
                      <a:t>296.61</a:t>
                    </a:r>
                  </a:p>
                </c:rich>
              </c:tx>
              <c:showLegendKey val="0"/>
              <c:showVal val="1"/>
              <c:showCatName val="0"/>
              <c:showSerName val="0"/>
              <c:showPercent val="0"/>
              <c:showBubbleSize val="0"/>
            </c:dLbl>
            <c:dLbl>
              <c:idx val="2"/>
              <c:tx>
                <c:rich>
                  <a:bodyPr/>
                  <a:lstStyle/>
                  <a:p>
                    <a:r>
                      <a:t>283.81</a:t>
                    </a:r>
                  </a:p>
                </c:rich>
              </c:tx>
              <c:showLegendKey val="0"/>
              <c:showVal val="1"/>
              <c:showCatName val="0"/>
              <c:showSerName val="0"/>
              <c:showPercent val="0"/>
              <c:showBubbleSize val="0"/>
            </c:dLbl>
            <c:dLbl>
              <c:idx val="3"/>
              <c:tx>
                <c:rich>
                  <a:bodyPr/>
                  <a:lstStyle/>
                  <a:p>
                    <a:r>
                      <a:t>188.44</a:t>
                    </a:r>
                  </a:p>
                </c:rich>
              </c:tx>
              <c:showLegendKey val="0"/>
              <c:showVal val="1"/>
              <c:showCatName val="0"/>
              <c:showSerName val="0"/>
              <c:showPercent val="0"/>
              <c:showBubbleSize val="0"/>
            </c:dLbl>
            <c:dLbl>
              <c:idx val="4"/>
              <c:tx>
                <c:rich>
                  <a:bodyPr/>
                  <a:lstStyle/>
                  <a:p>
                    <a:r>
                      <a:t>295.28</a:t>
                    </a:r>
                  </a:p>
                </c:rich>
              </c:tx>
              <c:showLegendKey val="0"/>
              <c:showVal val="1"/>
              <c:showCatName val="0"/>
              <c:showSerName val="0"/>
              <c:showPercent val="0"/>
              <c:showBubbleSize val="0"/>
            </c:dLbl>
            <c:dLbl>
              <c:idx val="5"/>
              <c:tx>
                <c:rich>
                  <a:bodyPr/>
                  <a:lstStyle/>
                  <a:p>
                    <a:r>
                      <a:t>276.8</a:t>
                    </a:r>
                  </a:p>
                </c:rich>
              </c:tx>
              <c:showLegendKey val="0"/>
              <c:showVal val="1"/>
              <c:showCatName val="0"/>
              <c:showSerName val="0"/>
              <c:showPercent val="0"/>
              <c:showBubbleSize val="0"/>
            </c:dLbl>
            <c:dLbl>
              <c:idx val="6"/>
              <c:tx>
                <c:rich>
                  <a:bodyPr/>
                  <a:lstStyle/>
                  <a:p>
                    <a:r>
                      <a:t>316.96</a:t>
                    </a:r>
                  </a:p>
                </c:rich>
              </c:tx>
              <c:showLegendKey val="0"/>
              <c:showVal val="1"/>
              <c:showCatName val="0"/>
              <c:showSerName val="0"/>
              <c:showPercent val="0"/>
              <c:showBubbleSize val="0"/>
            </c:dLbl>
            <c:dLbl>
              <c:idx val="7"/>
              <c:tx>
                <c:rich>
                  <a:bodyPr/>
                  <a:lstStyle/>
                  <a:p>
                    <a:r>
                      <a:t>700.28</a:t>
                    </a:r>
                  </a:p>
                </c:rich>
              </c:tx>
              <c:showLegendKey val="0"/>
              <c:showVal val="1"/>
              <c:showCatName val="0"/>
              <c:showSerName val="0"/>
              <c:showPercent val="0"/>
              <c:showBubbleSize val="0"/>
            </c:dLbl>
            <c:dLbl>
              <c:idx val="8"/>
              <c:tx>
                <c:rich>
                  <a:bodyPr/>
                  <a:lstStyle/>
                  <a:p>
                    <a:r>
                      <a:t>280.16</a:t>
                    </a:r>
                  </a:p>
                </c:rich>
              </c:tx>
              <c:showLegendKey val="0"/>
              <c:showVal val="1"/>
              <c:showCatName val="0"/>
              <c:showSerName val="0"/>
              <c:showPercent val="0"/>
              <c:showBubbleSize val="0"/>
            </c:dLbl>
            <c:dLbl>
              <c:idx val="9"/>
              <c:tx>
                <c:rich>
                  <a:bodyPr/>
                  <a:lstStyle/>
                  <a:p>
                    <a:r>
                      <a:t>760.46</a:t>
                    </a:r>
                  </a:p>
                </c:rich>
              </c:tx>
              <c:showLegendKey val="0"/>
              <c:showVal val="1"/>
              <c:showCatName val="0"/>
              <c:showSerName val="0"/>
              <c:showPercent val="0"/>
              <c:showBubbleSize val="0"/>
            </c:dLbl>
            <c:dLbl>
              <c:idx val="10"/>
              <c:tx>
                <c:rich>
                  <a:bodyPr/>
                  <a:lstStyle/>
                  <a:p>
                    <a:r>
                      <a:t>635.69</a:t>
                    </a:r>
                  </a:p>
                </c:rich>
              </c:tx>
              <c:showLegendKey val="0"/>
              <c:showVal val="1"/>
              <c:showCatName val="0"/>
              <c:showSerName val="0"/>
              <c:showPercent val="0"/>
              <c:showBubbleSize val="0"/>
            </c:dLbl>
            <c:dLbl>
              <c:idx val="11"/>
              <c:tx>
                <c:rich>
                  <a:bodyPr/>
                  <a:lstStyle/>
                  <a:p>
                    <a:r>
                      <a:t>636.86</a:t>
                    </a:r>
                  </a:p>
                </c:rich>
              </c:tx>
              <c:showLegendKey val="0"/>
              <c:showVal val="1"/>
              <c:showCatName val="0"/>
              <c:showSerName val="0"/>
              <c:showPercent val="0"/>
              <c:showBubbleSize val="0"/>
            </c:dLbl>
            <c:dLbl>
              <c:idx val="12"/>
              <c:tx>
                <c:rich>
                  <a:bodyPr/>
                  <a:lstStyle/>
                  <a:p>
                    <a:r>
                      <a:t>63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Other Sunscreen Adults Cosmetics Crema 50+ 240Ml</c:v>
                </c:pt>
                <c:pt idx="1">
                  <c:v>Edgewell Banana Boat Aqua Protect Sunscreen Adults Sport Crema 50+ 236Ml</c:v>
                </c:pt>
                <c:pt idx="2">
                  <c:v>Edgewell Banana Boat Aqua Protect Sunscreen Adults Cosmetics Crema 50+ 236Ml</c:v>
                </c:pt>
                <c:pt idx="3">
                  <c:v>Edgewell Hawaiian Tropic Sheer Touch Sunscreen Adults Cosmetics Crema 50 120Ml</c:v>
                </c:pt>
                <c:pt idx="4">
                  <c:v>Edgewell Hawaiian Tropic Sheer Touch Sunscreen Adults Cosmetics Crema 30 - 49 240Ml</c:v>
                </c:pt>
                <c:pt idx="5">
                  <c:v>Beiersdorf Nivea Sunscreen Adults Cosmetics Crema 50 50Ml</c:v>
                </c:pt>
                <c:pt idx="6">
                  <c:v>Beiersdorf Nivea Sunscreen Adults Cosmetics Crema 50+ 200Ml</c:v>
                </c:pt>
                <c:pt idx="7">
                  <c:v>Beiersdorf Eucerin Sunscreen Adults Derma Crema 50+ 50Ml</c:v>
                </c:pt>
                <c:pt idx="8">
                  <c:v>Beiersdorf Nivea Sunscreen Adults Cosmetics Crema 50+ 40Ml</c:v>
                </c:pt>
                <c:pt idx="9">
                  <c:v>Beiersdorf Eucerin Sunscreen Adults Derma Crema 50+ 200Ml</c:v>
                </c:pt>
                <c:pt idx="10">
                  <c:v>Isdin Isdin Sunscreen Adults Derma Crema 50+ 50Ml</c:v>
                </c:pt>
                <c:pt idx="11">
                  <c:v>Isdin Isdin Sunscreen Adults Derma Crema 50 50Ml</c:v>
                </c:pt>
                <c:pt idx="12">
                  <c:v>Isdin Isdin Sunscreen Adults Derma Crema 30 50Ml</c:v>
                </c:pt>
              </c:strCache>
            </c:strRef>
          </c:cat>
          <c:val>
            <c:numRef>
              <c:f>Sheet1!$B$2:$B$14</c:f>
              <c:numCache>
                <c:formatCode>General</c:formatCode>
                <c:ptCount val="13"/>
                <c:pt idx="0">
                  <c:v>302.7</c:v>
                </c:pt>
                <c:pt idx="1">
                  <c:v>296.61</c:v>
                </c:pt>
                <c:pt idx="2">
                  <c:v>283.81</c:v>
                </c:pt>
                <c:pt idx="3">
                  <c:v>188.44</c:v>
                </c:pt>
                <c:pt idx="4">
                  <c:v>295.28</c:v>
                </c:pt>
                <c:pt idx="5">
                  <c:v>276.8</c:v>
                </c:pt>
                <c:pt idx="6">
                  <c:v>316.96</c:v>
                </c:pt>
                <c:pt idx="7">
                  <c:v>700.28</c:v>
                </c:pt>
                <c:pt idx="8">
                  <c:v>280.16</c:v>
                </c:pt>
                <c:pt idx="9">
                  <c:v>760.46</c:v>
                </c:pt>
                <c:pt idx="10">
                  <c:v>635.69</c:v>
                </c:pt>
                <c:pt idx="11">
                  <c:v>636.86</c:v>
                </c:pt>
                <c:pt idx="12">
                  <c:v>6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8.05</a:t>
                    </a:r>
                  </a:p>
                </c:rich>
              </c:tx>
              <c:showLegendKey val="0"/>
              <c:showVal val="1"/>
              <c:showCatName val="0"/>
              <c:showSerName val="0"/>
              <c:showPercent val="0"/>
              <c:showBubbleSize val="0"/>
            </c:dLbl>
            <c:dLbl>
              <c:idx val="1"/>
              <c:tx>
                <c:rich>
                  <a:bodyPr/>
                  <a:lstStyle/>
                  <a:p>
                    <a:r>
                      <a:t>868.3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Mineral Sunscreen Adults Cosmetics Emulsion 30 - 49 30Ml</c:v>
                </c:pt>
                <c:pt idx="1">
                  <c:v>Others Fabricante Unif. Others Marca Unif. Sunscreen Adults Derma Emulsion 50 50Ml</c:v>
                </c:pt>
              </c:strCache>
            </c:strRef>
          </c:cat>
          <c:val>
            <c:numRef>
              <c:f>Sheet1!$B$2:$B$3</c:f>
              <c:numCache>
                <c:formatCode>General</c:formatCode>
                <c:ptCount val="2"/>
                <c:pt idx="0">
                  <c:v>38.05</c:v>
                </c:pt>
                <c:pt idx="1">
                  <c:v>868.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73</a:t>
                    </a:r>
                  </a:p>
                </c:rich>
              </c:tx>
              <c:showLegendKey val="0"/>
              <c:showVal val="1"/>
              <c:showCatName val="0"/>
              <c:showSerName val="0"/>
              <c:showPercent val="0"/>
              <c:showBubbleSize val="0"/>
            </c:dLbl>
            <c:dLbl>
              <c:idx val="1"/>
              <c:tx>
                <c:rich>
                  <a:bodyPr/>
                  <a:lstStyle/>
                  <a:p>
                    <a:r>
                      <a:t>622.04</a:t>
                    </a:r>
                  </a:p>
                </c:rich>
              </c:tx>
              <c:showLegendKey val="0"/>
              <c:showVal val="1"/>
              <c:showCatName val="0"/>
              <c:showSerName val="0"/>
              <c:showPercent val="0"/>
              <c:showBubbleSize val="0"/>
            </c:dLbl>
            <c:dLbl>
              <c:idx val="2"/>
              <c:tx>
                <c:rich>
                  <a:bodyPr/>
                  <a:lstStyle/>
                  <a:p>
                    <a:r>
                      <a:t>665.28</a:t>
                    </a:r>
                  </a:p>
                </c:rich>
              </c:tx>
              <c:showLegendKey val="0"/>
              <c:showVal val="1"/>
              <c:showCatName val="0"/>
              <c:showSerName val="0"/>
              <c:showPercent val="0"/>
              <c:showBubbleSize val="0"/>
            </c:dLbl>
            <c:dLbl>
              <c:idx val="3"/>
              <c:tx>
                <c:rich>
                  <a:bodyPr/>
                  <a:lstStyle/>
                  <a:p>
                    <a:r>
                      <a:t>741.94</a:t>
                    </a:r>
                  </a:p>
                </c:rich>
              </c:tx>
              <c:showLegendKey val="0"/>
              <c:showVal val="1"/>
              <c:showCatName val="0"/>
              <c:showSerName val="0"/>
              <c:showPercent val="0"/>
              <c:showBubbleSize val="0"/>
            </c:dLbl>
            <c:dLbl>
              <c:idx val="4"/>
              <c:tx>
                <c:rich>
                  <a:bodyPr/>
                  <a:lstStyle/>
                  <a:p>
                    <a:r>
                      <a:t>824.58</a:t>
                    </a:r>
                  </a:p>
                </c:rich>
              </c:tx>
              <c:showLegendKey val="0"/>
              <c:showVal val="1"/>
              <c:showCatName val="0"/>
              <c:showSerName val="0"/>
              <c:showPercent val="0"/>
              <c:showBubbleSize val="0"/>
            </c:dLbl>
            <c:dLbl>
              <c:idx val="5"/>
              <c:tx>
                <c:rich>
                  <a:bodyPr/>
                  <a:lstStyle/>
                  <a:p>
                    <a:r>
                      <a:t>625.28</a:t>
                    </a:r>
                  </a:p>
                </c:rich>
              </c:tx>
              <c:showLegendKey val="0"/>
              <c:showVal val="1"/>
              <c:showCatName val="0"/>
              <c:showSerName val="0"/>
              <c:showPercent val="0"/>
              <c:showBubbleSize val="0"/>
            </c:dLbl>
            <c:dLbl>
              <c:idx val="6"/>
              <c:tx>
                <c:rich>
                  <a:bodyPr/>
                  <a:lstStyle/>
                  <a:p>
                    <a:r>
                      <a:t>713.7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L'Oreal La Roche-Posay Sunscreen Adults Derma Fluido 50+ 50Ml</c:v>
                </c:pt>
                <c:pt idx="2">
                  <c:v>Isdin Isdin Sunscreen Adults Derma Fluido 50+ 50Ml</c:v>
                </c:pt>
                <c:pt idx="3">
                  <c:v>Pierre Fabre Avene Sunscreen Adults Derma Fluido 50+ 50Ml</c:v>
                </c:pt>
                <c:pt idx="4">
                  <c:v>Pierre Fabre Avene Sunscreen Adults Derma Fluido 50+ 40Ml</c:v>
                </c:pt>
                <c:pt idx="5">
                  <c:v>Isdin Isdin Sunscreen Baby Derma Fluido 50 50Ml</c:v>
                </c:pt>
                <c:pt idx="6">
                  <c:v>L'Oreal La Roche-Posay Sunscreen Kids Derma Fluido 50+ 50Ml</c:v>
                </c:pt>
              </c:strCache>
            </c:strRef>
          </c:cat>
          <c:val>
            <c:numRef>
              <c:f>Sheet1!$B$2:$B$8</c:f>
              <c:numCache>
                <c:formatCode>General</c:formatCode>
                <c:ptCount val="7"/>
                <c:pt idx="0">
                  <c:v>292.73</c:v>
                </c:pt>
                <c:pt idx="1">
                  <c:v>622.04</c:v>
                </c:pt>
                <c:pt idx="2">
                  <c:v>665.28</c:v>
                </c:pt>
                <c:pt idx="3">
                  <c:v>741.94</c:v>
                </c:pt>
                <c:pt idx="4">
                  <c:v>824.58</c:v>
                </c:pt>
                <c:pt idx="5">
                  <c:v>625.28</c:v>
                </c:pt>
                <c:pt idx="6">
                  <c:v>713.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1.59</a:t>
                    </a:r>
                  </a:p>
                </c:rich>
              </c:tx>
              <c:showLegendKey val="0"/>
              <c:showVal val="1"/>
              <c:showCatName val="0"/>
              <c:showSerName val="0"/>
              <c:showPercent val="0"/>
              <c:showBubbleSize val="0"/>
            </c:dLbl>
            <c:dLbl>
              <c:idx val="1"/>
              <c:tx>
                <c:rich>
                  <a:bodyPr/>
                  <a:lstStyle/>
                  <a:p>
                    <a:r>
                      <a:t>305.15</a:t>
                    </a:r>
                  </a:p>
                </c:rich>
              </c:tx>
              <c:showLegendKey val="0"/>
              <c:showVal val="1"/>
              <c:showCatName val="0"/>
              <c:showSerName val="0"/>
              <c:showPercent val="0"/>
              <c:showBubbleSize val="0"/>
            </c:dLbl>
            <c:dLbl>
              <c:idx val="2"/>
              <c:tx>
                <c:rich>
                  <a:bodyPr/>
                  <a:lstStyle/>
                  <a:p>
                    <a:r>
                      <a:t>302.86</a:t>
                    </a:r>
                  </a:p>
                </c:rich>
              </c:tx>
              <c:showLegendKey val="0"/>
              <c:showVal val="1"/>
              <c:showCatName val="0"/>
              <c:showSerName val="0"/>
              <c:showPercent val="0"/>
              <c:showBubbleSize val="0"/>
            </c:dLbl>
            <c:dLbl>
              <c:idx val="3"/>
              <c:tx>
                <c:rich>
                  <a:bodyPr/>
                  <a:lstStyle/>
                  <a:p>
                    <a:r>
                      <a:t>325.25</a:t>
                    </a:r>
                  </a:p>
                </c:rich>
              </c:tx>
              <c:showLegendKey val="0"/>
              <c:showVal val="1"/>
              <c:showCatName val="0"/>
              <c:showSerName val="0"/>
              <c:showPercent val="0"/>
              <c:showBubbleSize val="0"/>
            </c:dLbl>
            <c:dLbl>
              <c:idx val="4"/>
              <c:tx>
                <c:rich>
                  <a:bodyPr/>
                  <a:lstStyle/>
                  <a:p>
                    <a:r>
                      <a:t>307.23</a:t>
                    </a:r>
                  </a:p>
                </c:rich>
              </c:tx>
              <c:showLegendKey val="0"/>
              <c:showVal val="1"/>
              <c:showCatName val="0"/>
              <c:showSerName val="0"/>
              <c:showPercent val="0"/>
              <c:showBubbleSize val="0"/>
            </c:dLbl>
            <c:dLbl>
              <c:idx val="5"/>
              <c:tx>
                <c:rich>
                  <a:bodyPr/>
                  <a:lstStyle/>
                  <a:p>
                    <a:r>
                      <a:t>301.21</a:t>
                    </a:r>
                  </a:p>
                </c:rich>
              </c:tx>
              <c:showLegendKey val="0"/>
              <c:showVal val="1"/>
              <c:showCatName val="0"/>
              <c:showSerName val="0"/>
              <c:showPercent val="0"/>
              <c:showBubbleSize val="0"/>
            </c:dLbl>
            <c:dLbl>
              <c:idx val="6"/>
              <c:tx>
                <c:rich>
                  <a:bodyPr/>
                  <a:lstStyle/>
                  <a:p>
                    <a:r>
                      <a:t>186.86</a:t>
                    </a:r>
                  </a:p>
                </c:rich>
              </c:tx>
              <c:showLegendKey val="0"/>
              <c:showVal val="1"/>
              <c:showCatName val="0"/>
              <c:showSerName val="0"/>
              <c:showPercent val="0"/>
              <c:showBubbleSize val="0"/>
            </c:dLbl>
            <c:dLbl>
              <c:idx val="7"/>
              <c:tx>
                <c:rich>
                  <a:bodyPr/>
                  <a:lstStyle/>
                  <a:p>
                    <a:r>
                      <a:t>336.81</a:t>
                    </a:r>
                  </a:p>
                </c:rich>
              </c:tx>
              <c:showLegendKey val="0"/>
              <c:showVal val="1"/>
              <c:showCatName val="0"/>
              <c:showSerName val="0"/>
              <c:showPercent val="0"/>
              <c:showBubbleSize val="0"/>
            </c:dLbl>
            <c:dLbl>
              <c:idx val="8"/>
              <c:tx>
                <c:rich>
                  <a:bodyPr/>
                  <a:lstStyle/>
                  <a:p>
                    <a:r>
                      <a:t>297.46</a:t>
                    </a:r>
                  </a:p>
                </c:rich>
              </c:tx>
              <c:showLegendKey val="0"/>
              <c:showVal val="1"/>
              <c:showCatName val="0"/>
              <c:showSerName val="0"/>
              <c:showPercent val="0"/>
              <c:showBubbleSize val="0"/>
            </c:dLbl>
            <c:dLbl>
              <c:idx val="9"/>
              <c:tx>
                <c:rich>
                  <a:bodyPr/>
                  <a:lstStyle/>
                  <a:p>
                    <a:r>
                      <a:t>176.01</a:t>
                    </a:r>
                  </a:p>
                </c:rich>
              </c:tx>
              <c:showLegendKey val="0"/>
              <c:showVal val="1"/>
              <c:showCatName val="0"/>
              <c:showSerName val="0"/>
              <c:showPercent val="0"/>
              <c:showBubbleSize val="0"/>
            </c:dLbl>
            <c:dLbl>
              <c:idx val="10"/>
              <c:tx>
                <c:rich>
                  <a:bodyPr/>
                  <a:lstStyle/>
                  <a:p>
                    <a:r>
                      <a:t>1206.0</a:t>
                    </a:r>
                  </a:p>
                </c:rich>
              </c:tx>
              <c:showLegendKey val="0"/>
              <c:showVal val="1"/>
              <c:showCatName val="0"/>
              <c:showSerName val="0"/>
              <c:showPercent val="0"/>
              <c:showBubbleSize val="0"/>
            </c:dLbl>
            <c:dLbl>
              <c:idx val="11"/>
              <c:tx>
                <c:rich>
                  <a:bodyPr/>
                  <a:lstStyle/>
                  <a:p>
                    <a:r>
                      <a:t>683.37</a:t>
                    </a:r>
                  </a:p>
                </c:rich>
              </c:tx>
              <c:showLegendKey val="0"/>
              <c:showVal val="1"/>
              <c:showCatName val="0"/>
              <c:showSerName val="0"/>
              <c:showPercent val="0"/>
              <c:showBubbleSize val="0"/>
            </c:dLbl>
            <c:dLbl>
              <c:idx val="12"/>
              <c:tx>
                <c:rich>
                  <a:bodyPr/>
                  <a:lstStyle/>
                  <a:p>
                    <a:r>
                      <a:t>619.9</a:t>
                    </a:r>
                  </a:p>
                </c:rich>
              </c:tx>
              <c:showLegendKey val="0"/>
              <c:showVal val="1"/>
              <c:showCatName val="0"/>
              <c:showSerName val="0"/>
              <c:showPercent val="0"/>
              <c:showBubbleSize val="0"/>
            </c:dLbl>
            <c:dLbl>
              <c:idx val="13"/>
              <c:tx>
                <c:rich>
                  <a:bodyPr/>
                  <a:lstStyle/>
                  <a:p>
                    <a:r>
                      <a:t>287.88</a:t>
                    </a:r>
                  </a:p>
                </c:rich>
              </c:tx>
              <c:showLegendKey val="0"/>
              <c:showVal val="1"/>
              <c:showCatName val="0"/>
              <c:showSerName val="0"/>
              <c:showPercent val="0"/>
              <c:showBubbleSize val="0"/>
            </c:dLbl>
            <c:dLbl>
              <c:idx val="14"/>
              <c:tx>
                <c:rich>
                  <a:bodyPr/>
                  <a:lstStyle/>
                  <a:p>
                    <a:r>
                      <a:t>593.0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dgewell Hawaiian Tropic Ozono Sunscreen Adults Cosmetics Liquido 50+ 240Ml</c:v>
                </c:pt>
                <c:pt idx="1">
                  <c:v>Edgewell Hawaiian Tropic Island Sport Sunscreen Adults Sport Liquido 50 240Ml</c:v>
                </c:pt>
                <c:pt idx="2">
                  <c:v>Edgewell Banana Boat Dry Balance Sunscreen Adults Sport Spray Liquido 50 220Ml</c:v>
                </c:pt>
                <c:pt idx="3">
                  <c:v>Edgewell Hawaiian Tropic Island Sport Sunscreen Adults Sport Spray Liquido 50 220Ml</c:v>
                </c:pt>
                <c:pt idx="4">
                  <c:v>Edgewell Banana Boat Advanced Protection Sunscreen Adults Cosmetics Liquido 50+ 240Ml</c:v>
                </c:pt>
                <c:pt idx="5">
                  <c:v>Beiersdorf Nivea Sunscreen Adults Cosmetics Liquido 50 200Ml</c:v>
                </c:pt>
                <c:pt idx="6">
                  <c:v>Beiersdorf Nivea Sunscreen Adults Cosmetics Liquido 50+ 125Ml</c:v>
                </c:pt>
                <c:pt idx="7">
                  <c:v>Beiersdorf Nivea Sunscreen Adults Cosmetics Spray Liquido 50 200Ml</c:v>
                </c:pt>
                <c:pt idx="8">
                  <c:v>Beiersdorf Nivea Sunscreen Kids Cosmetics Liquido 50+ 200Ml</c:v>
                </c:pt>
                <c:pt idx="9">
                  <c:v>Beiersdorf Nivea Sunscreen Kids Cosmetics Liquido 50+ 125Ml</c:v>
                </c:pt>
                <c:pt idx="10">
                  <c:v>Others Fabricante Unif. Others Marca Unif. Sunscreen Adults Cosmetics Liquido 30 - 49 50Ml</c:v>
                </c:pt>
                <c:pt idx="11">
                  <c:v>Others Fabricante Unif. Others Marca Unif. Sunscreen Adults Derma Spray Liquido 50+ 120Ml</c:v>
                </c:pt>
                <c:pt idx="12">
                  <c:v>Others Fabricante Unif. Others Marca Unif. Sunscreen Adults Derma Liquido 50+ 50Ml</c:v>
                </c:pt>
                <c:pt idx="13">
                  <c:v>Others Fabricante Unif. Others Marca Unif. Sunscreen Adults Cosmetics Spray Liquido 50 200Ml</c:v>
                </c:pt>
                <c:pt idx="14">
                  <c:v>Others Fabricante Unif. Others Marca Unif. Sunscreen Adults Derma Spray Liquido 50+ 200Ml</c:v>
                </c:pt>
              </c:strCache>
            </c:strRef>
          </c:cat>
          <c:val>
            <c:numRef>
              <c:f>Sheet1!$B$2:$B$16</c:f>
              <c:numCache>
                <c:formatCode>General</c:formatCode>
                <c:ptCount val="15"/>
                <c:pt idx="0">
                  <c:v>301.59</c:v>
                </c:pt>
                <c:pt idx="1">
                  <c:v>305.15</c:v>
                </c:pt>
                <c:pt idx="2">
                  <c:v>302.86</c:v>
                </c:pt>
                <c:pt idx="3">
                  <c:v>325.25</c:v>
                </c:pt>
                <c:pt idx="4">
                  <c:v>307.23</c:v>
                </c:pt>
                <c:pt idx="5">
                  <c:v>301.21</c:v>
                </c:pt>
                <c:pt idx="6">
                  <c:v>186.86</c:v>
                </c:pt>
                <c:pt idx="7">
                  <c:v>336.81</c:v>
                </c:pt>
                <c:pt idx="8">
                  <c:v>297.46</c:v>
                </c:pt>
                <c:pt idx="9">
                  <c:v>176.01</c:v>
                </c:pt>
                <c:pt idx="10">
                  <c:v>1206.0</c:v>
                </c:pt>
                <c:pt idx="11">
                  <c:v>683.37</c:v>
                </c:pt>
                <c:pt idx="12">
                  <c:v>619.9</c:v>
                </c:pt>
                <c:pt idx="13">
                  <c:v>287.88</c:v>
                </c:pt>
                <c:pt idx="14">
                  <c:v>59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6.36</a:t>
                    </a:r>
                  </a:p>
                </c:rich>
              </c:tx>
              <c:showLegendKey val="0"/>
              <c:showVal val="1"/>
              <c:showCatName val="0"/>
              <c:showSerName val="0"/>
              <c:showPercent val="0"/>
              <c:showBubbleSize val="0"/>
            </c:dLbl>
            <c:dLbl>
              <c:idx val="1"/>
              <c:tx>
                <c:rich>
                  <a:bodyPr/>
                  <a:lstStyle/>
                  <a:p>
                    <a:r>
                      <a:t>258.77</a:t>
                    </a:r>
                  </a:p>
                </c:rich>
              </c:tx>
              <c:showLegendKey val="0"/>
              <c:showVal val="1"/>
              <c:showCatName val="0"/>
              <c:showSerName val="0"/>
              <c:showPercent val="0"/>
              <c:showBubbleSize val="0"/>
            </c:dLbl>
            <c:dLbl>
              <c:idx val="2"/>
              <c:tx>
                <c:rich>
                  <a:bodyPr/>
                  <a:lstStyle/>
                  <a:p>
                    <a:r>
                      <a:t>331.57</a:t>
                    </a:r>
                  </a:p>
                </c:rich>
              </c:tx>
              <c:showLegendKey val="0"/>
              <c:showVal val="1"/>
              <c:showCatName val="0"/>
              <c:showSerName val="0"/>
              <c:showPercent val="0"/>
              <c:showBubbleSize val="0"/>
            </c:dLbl>
            <c:dLbl>
              <c:idx val="3"/>
              <c:tx>
                <c:rich>
                  <a:bodyPr/>
                  <a:lstStyle/>
                  <a:p>
                    <a:r>
                      <a:t>324.2</a:t>
                    </a:r>
                  </a:p>
                </c:rich>
              </c:tx>
              <c:showLegendKey val="0"/>
              <c:showVal val="1"/>
              <c:showCatName val="0"/>
              <c:showSerName val="0"/>
              <c:showPercent val="0"/>
              <c:showBubbleSize val="0"/>
            </c:dLbl>
            <c:dLbl>
              <c:idx val="4"/>
              <c:tx>
                <c:rich>
                  <a:bodyPr/>
                  <a:lstStyle/>
                  <a:p>
                    <a:r>
                      <a:t>334.39</a:t>
                    </a:r>
                  </a:p>
                </c:rich>
              </c:tx>
              <c:showLegendKey val="0"/>
              <c:showVal val="1"/>
              <c:showCatName val="0"/>
              <c:showSerName val="0"/>
              <c:showPercent val="0"/>
              <c:showBubbleSize val="0"/>
            </c:dLbl>
            <c:dLbl>
              <c:idx val="5"/>
              <c:tx>
                <c:rich>
                  <a:bodyPr/>
                  <a:lstStyle/>
                  <a:p>
                    <a:r>
                      <a:t>296.43</a:t>
                    </a:r>
                  </a:p>
                </c:rich>
              </c:tx>
              <c:showLegendKey val="0"/>
              <c:showVal val="1"/>
              <c:showCatName val="0"/>
              <c:showSerName val="0"/>
              <c:showPercent val="0"/>
              <c:showBubbleSize val="0"/>
            </c:dLbl>
            <c:dLbl>
              <c:idx val="6"/>
              <c:tx>
                <c:rich>
                  <a:bodyPr/>
                  <a:lstStyle/>
                  <a:p>
                    <a:r>
                      <a:t>299.19</a:t>
                    </a:r>
                  </a:p>
                </c:rich>
              </c:tx>
              <c:showLegendKey val="0"/>
              <c:showVal val="1"/>
              <c:showCatName val="0"/>
              <c:showSerName val="0"/>
              <c:showPercent val="0"/>
              <c:showBubbleSize val="0"/>
            </c:dLbl>
            <c:dLbl>
              <c:idx val="7"/>
              <c:tx>
                <c:rich>
                  <a:bodyPr/>
                  <a:lstStyle/>
                  <a:p>
                    <a:r>
                      <a:t>771.17</a:t>
                    </a:r>
                  </a:p>
                </c:rich>
              </c:tx>
              <c:showLegendKey val="0"/>
              <c:showVal val="1"/>
              <c:showCatName val="0"/>
              <c:showSerName val="0"/>
              <c:showPercent val="0"/>
              <c:showBubbleSize val="0"/>
            </c:dLbl>
            <c:dLbl>
              <c:idx val="8"/>
              <c:tx>
                <c:rich>
                  <a:bodyPr/>
                  <a:lstStyle/>
                  <a:p>
                    <a:r>
                      <a:t>655.6</a:t>
                    </a:r>
                  </a:p>
                </c:rich>
              </c:tx>
              <c:showLegendKey val="0"/>
              <c:showVal val="1"/>
              <c:showCatName val="0"/>
              <c:showSerName val="0"/>
              <c:showPercent val="0"/>
              <c:showBubbleSize val="0"/>
            </c:dLbl>
            <c:dLbl>
              <c:idx val="9"/>
              <c:tx>
                <c:rich>
                  <a:bodyPr/>
                  <a:lstStyle/>
                  <a:p>
                    <a:r>
                      <a:t>600.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gewell Banana Boat Banded Pack Banded Pack 2X Sunscreen Multi 50+ 170Ml</c:v>
                </c:pt>
                <c:pt idx="1">
                  <c:v>Edgewell Banana Boat Banded Pack Banded Pack 2X Sunscreen Multi 50+ 236Ml</c:v>
                </c:pt>
                <c:pt idx="2">
                  <c:v>Edgewell Banana Boat Mineral Sunscreen Kids Cosmetics Locion 50 180Ml</c:v>
                </c:pt>
                <c:pt idx="3">
                  <c:v>Edgewell Banana Boat Mineral Sunscreen Adults Cosmetics Locion 50 180Ml</c:v>
                </c:pt>
                <c:pt idx="4">
                  <c:v>Edgewell Banana Boat Mineral Sunscreen Adults Sport Locion 50 180Ml</c:v>
                </c:pt>
                <c:pt idx="5">
                  <c:v>Glaxosmithkline Eclipsol Sunscreen Kids Derma Locion 50+ 60Ml</c:v>
                </c:pt>
                <c:pt idx="6">
                  <c:v>Glaxosmithkline Eclipsol Sunscreen Adults Derma Locion 50+ 60Ml</c:v>
                </c:pt>
                <c:pt idx="7">
                  <c:v>Glaxosmithkline Eclipsol Sunscreen Adults Derma Locion 50+ 125Ml</c:v>
                </c:pt>
                <c:pt idx="8">
                  <c:v>Isdin Isdin Sunscreen Baby Derma Spray Locion 50+ 250Ml</c:v>
                </c:pt>
                <c:pt idx="9">
                  <c:v>Isdin Isdin Sunscreen Adults Derma Locion 50+ 200Ml</c:v>
                </c:pt>
              </c:strCache>
            </c:strRef>
          </c:cat>
          <c:val>
            <c:numRef>
              <c:f>Sheet1!$B$2:$B$11</c:f>
              <c:numCache>
                <c:formatCode>General</c:formatCode>
                <c:ptCount val="10"/>
                <c:pt idx="0">
                  <c:v>326.36</c:v>
                </c:pt>
                <c:pt idx="1">
                  <c:v>258.77</c:v>
                </c:pt>
                <c:pt idx="2">
                  <c:v>331.57</c:v>
                </c:pt>
                <c:pt idx="3">
                  <c:v>324.2</c:v>
                </c:pt>
                <c:pt idx="4">
                  <c:v>334.39</c:v>
                </c:pt>
                <c:pt idx="5">
                  <c:v>296.43</c:v>
                </c:pt>
                <c:pt idx="6">
                  <c:v>299.19</c:v>
                </c:pt>
                <c:pt idx="7">
                  <c:v>771.17</c:v>
                </c:pt>
                <c:pt idx="8">
                  <c:v>655.6</c:v>
                </c:pt>
                <c:pt idx="9">
                  <c:v>600.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18.18</a:t>
                    </a:r>
                  </a:p>
                </c:rich>
              </c:tx>
              <c:showLegendKey val="0"/>
              <c:showVal val="1"/>
              <c:showCatName val="0"/>
              <c:showSerName val="0"/>
              <c:showPercent val="0"/>
              <c:showBubbleSize val="0"/>
            </c:dLbl>
            <c:dLbl>
              <c:idx val="1"/>
              <c:tx>
                <c:rich>
                  <a:bodyPr/>
                  <a:lstStyle/>
                  <a:p>
                    <a:r>
                      <a:t>214.5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Ultra Sunscreen Adults Sport Roll-On 60+ 75Ml</c:v>
                </c:pt>
                <c:pt idx="1">
                  <c:v>Edgewell Banana Boat Kids Sport Sunscreen Kids Cosmetics Roll-On 60+ 75Ml</c:v>
                </c:pt>
              </c:strCache>
            </c:strRef>
          </c:cat>
          <c:val>
            <c:numRef>
              <c:f>Sheet1!$B$2:$B$3</c:f>
              <c:numCache>
                <c:formatCode>General</c:formatCode>
                <c:ptCount val="2"/>
                <c:pt idx="0">
                  <c:v>218.18</c:v>
                </c:pt>
                <c:pt idx="1">
                  <c:v>214.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10.0</a:t>
                    </a:r>
                  </a:p>
                </c:rich>
              </c:tx>
              <c:showLegendKey val="0"/>
              <c:showVal val="1"/>
              <c:showCatName val="0"/>
              <c:showSerName val="0"/>
              <c:showPercent val="0"/>
              <c:showBubbleSize val="0"/>
            </c:dLbl>
            <c:dLbl>
              <c:idx val="1"/>
              <c:tx>
                <c:rich>
                  <a:bodyPr/>
                  <a:lstStyle/>
                  <a:p>
                    <a:r>
                      <a:t>360.96</a:t>
                    </a:r>
                  </a:p>
                </c:rich>
              </c:tx>
              <c:showLegendKey val="0"/>
              <c:showVal val="1"/>
              <c:showCatName val="0"/>
              <c:showSerName val="0"/>
              <c:showPercent val="0"/>
              <c:showBubbleSize val="0"/>
            </c:dLbl>
            <c:dLbl>
              <c:idx val="2"/>
              <c:tx>
                <c:rich>
                  <a:bodyPr/>
                  <a:lstStyle/>
                  <a:p>
                    <a:r>
                      <a:t>234.53</a:t>
                    </a:r>
                  </a:p>
                </c:rich>
              </c:tx>
              <c:showLegendKey val="0"/>
              <c:showVal val="1"/>
              <c:showCatName val="0"/>
              <c:showSerName val="0"/>
              <c:showPercent val="0"/>
              <c:showBubbleSize val="0"/>
            </c:dLbl>
            <c:dLbl>
              <c:idx val="3"/>
              <c:tx>
                <c:rich>
                  <a:bodyPr/>
                  <a:lstStyle/>
                  <a:p>
                    <a:r>
                      <a:t>725.64</a:t>
                    </a:r>
                  </a:p>
                </c:rich>
              </c:tx>
              <c:showLegendKey val="0"/>
              <c:showVal val="1"/>
              <c:showCatName val="0"/>
              <c:showSerName val="0"/>
              <c:showPercent val="0"/>
              <c:showBubbleSize val="0"/>
            </c:dLbl>
            <c:dLbl>
              <c:idx val="4"/>
              <c:tx>
                <c:rich>
                  <a:bodyPr/>
                  <a:lstStyle/>
                  <a:p>
                    <a:r>
                      <a:t>865.31</a:t>
                    </a:r>
                  </a:p>
                </c:rich>
              </c:tx>
              <c:showLegendKey val="0"/>
              <c:showVal val="1"/>
              <c:showCatName val="0"/>
              <c:showSerName val="0"/>
              <c:showPercent val="0"/>
              <c:showBubbleSize val="0"/>
            </c:dLbl>
            <c:dLbl>
              <c:idx val="5"/>
              <c:tx>
                <c:rich>
                  <a:bodyPr/>
                  <a:lstStyle/>
                  <a:p>
                    <a:r>
                      <a:t>828.24</a:t>
                    </a:r>
                  </a:p>
                </c:rich>
              </c:tx>
              <c:showLegendKey val="0"/>
              <c:showVal val="1"/>
              <c:showCatName val="0"/>
              <c:showSerName val="0"/>
              <c:showPercent val="0"/>
              <c:showBubbleSize val="0"/>
            </c:dLbl>
            <c:dLbl>
              <c:idx val="6"/>
              <c:tx>
                <c:rich>
                  <a:bodyPr/>
                  <a:lstStyle/>
                  <a:p>
                    <a:r>
                      <a:t>379.28</a:t>
                    </a:r>
                  </a:p>
                </c:rich>
              </c:tx>
              <c:showLegendKey val="0"/>
              <c:showVal val="1"/>
              <c:showCatName val="0"/>
              <c:showSerName val="0"/>
              <c:showPercent val="0"/>
              <c:showBubbleSize val="0"/>
            </c:dLbl>
            <c:dLbl>
              <c:idx val="7"/>
              <c:tx>
                <c:rich>
                  <a:bodyPr/>
                  <a:lstStyle/>
                  <a:p>
                    <a:r>
                      <a:t>1239.0</a:t>
                    </a:r>
                  </a:p>
                </c:rich>
              </c:tx>
              <c:showLegendKey val="0"/>
              <c:showVal val="1"/>
              <c:showCatName val="0"/>
              <c:showSerName val="0"/>
              <c:showPercent val="0"/>
              <c:showBubbleSize val="0"/>
            </c:dLbl>
            <c:dLbl>
              <c:idx val="8"/>
              <c:tx>
                <c:rich>
                  <a:bodyPr/>
                  <a:lstStyle/>
                  <a:p>
                    <a:r>
                      <a:t>830.08</a:t>
                    </a:r>
                  </a:p>
                </c:rich>
              </c:tx>
              <c:showLegendKey val="0"/>
              <c:showVal val="1"/>
              <c:showCatName val="0"/>
              <c:showSerName val="0"/>
              <c:showPercent val="0"/>
              <c:showBubbleSize val="0"/>
            </c:dLbl>
            <c:dLbl>
              <c:idx val="9"/>
              <c:tx>
                <c:rich>
                  <a:bodyPr/>
                  <a:lstStyle/>
                  <a:p>
                    <a:r>
                      <a:t>407.99</a:t>
                    </a:r>
                  </a:p>
                </c:rich>
              </c:tx>
              <c:showLegendKey val="0"/>
              <c:showVal val="1"/>
              <c:showCatName val="0"/>
              <c:showSerName val="0"/>
              <c:showPercent val="0"/>
              <c:showBubbleSize val="0"/>
            </c:dLbl>
            <c:dLbl>
              <c:idx val="10"/>
              <c:tx>
                <c:rich>
                  <a:bodyPr/>
                  <a:lstStyle/>
                  <a:p>
                    <a:r>
                      <a:t>350.51</a:t>
                    </a:r>
                  </a:p>
                </c:rich>
              </c:tx>
              <c:showLegendKey val="0"/>
              <c:showVal val="1"/>
              <c:showCatName val="0"/>
              <c:showSerName val="0"/>
              <c:showPercent val="0"/>
              <c:showBubbleSize val="0"/>
            </c:dLbl>
            <c:dLbl>
              <c:idx val="11"/>
              <c:tx>
                <c:rich>
                  <a:bodyPr/>
                  <a:lstStyle/>
                  <a:p>
                    <a:r>
                      <a:t>357.0</a:t>
                    </a:r>
                  </a:p>
                </c:rich>
              </c:tx>
              <c:showLegendKey val="0"/>
              <c:showVal val="1"/>
              <c:showCatName val="0"/>
              <c:showSerName val="0"/>
              <c:showPercent val="0"/>
              <c:showBubbleSize val="0"/>
            </c:dLbl>
            <c:dLbl>
              <c:idx val="12"/>
              <c:tx>
                <c:rich>
                  <a:bodyPr/>
                  <a:lstStyle/>
                  <a:p>
                    <a:r>
                      <a:t>1003.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Banana Boat Advanced Protection Sunscreen Adults Cosmetics Spray 50+ 170Ml</c:v>
                </c:pt>
                <c:pt idx="1">
                  <c:v>Edgewell Banana Boat Dry Balance Sunscreen Adults Sport Spray 50+ 170Ml</c:v>
                </c:pt>
                <c:pt idx="2">
                  <c:v>Edgewell Banana Boat Dry Balance Sunscreen Adults Cosmetics Spray 50+ 340Ml</c:v>
                </c:pt>
                <c:pt idx="3">
                  <c:v>Bioderma Photoderm Sunscreen Adults Derma Spray 50+ 300Ml</c:v>
                </c:pt>
                <c:pt idx="4">
                  <c:v>L'Oreal La Roche-Posay Sunscreen Adults Derma Spray 50+ 200Ml</c:v>
                </c:pt>
                <c:pt idx="5">
                  <c:v>Bioderma Photoderm Sunscreen Adults Derma Spray 50+ 150Ml</c:v>
                </c:pt>
                <c:pt idx="6">
                  <c:v>Australian Gold Australian Gold Sunscreen Adults Cosmetics Spray 30 - 49 170Ml</c:v>
                </c:pt>
                <c:pt idx="7">
                  <c:v>L'Oreal La Roche-Posay Sunscreen Kids Derma Spray 50+ 200Ml</c:v>
                </c:pt>
                <c:pt idx="8">
                  <c:v>Bioderma Photoderm Sunscreen Kids Derma Spray 50+ 200Ml</c:v>
                </c:pt>
                <c:pt idx="9">
                  <c:v>Australian Gold Australian Gold Sunscreen Adults Sport Spray 50 170Ml</c:v>
                </c:pt>
                <c:pt idx="10">
                  <c:v>Australian Gold Australian Gold Sunscreen Adults Cosmetics Spray 15 - 19 170Ml</c:v>
                </c:pt>
                <c:pt idx="11">
                  <c:v>Australian Gold Australian Gold Sunscreen Kids Cosmetics Spray 50 170Ml</c:v>
                </c:pt>
                <c:pt idx="12">
                  <c:v>Bioderma Photoderm Sunscreen Adults Derma Spray 50+ 400Ml</c:v>
                </c:pt>
              </c:strCache>
            </c:strRef>
          </c:cat>
          <c:val>
            <c:numRef>
              <c:f>Sheet1!$B$2:$B$14</c:f>
              <c:numCache>
                <c:formatCode>General</c:formatCode>
                <c:ptCount val="13"/>
                <c:pt idx="0">
                  <c:v>310.0</c:v>
                </c:pt>
                <c:pt idx="1">
                  <c:v>360.96</c:v>
                </c:pt>
                <c:pt idx="2">
                  <c:v>234.53</c:v>
                </c:pt>
                <c:pt idx="3">
                  <c:v>725.64</c:v>
                </c:pt>
                <c:pt idx="4">
                  <c:v>865.31</c:v>
                </c:pt>
                <c:pt idx="5">
                  <c:v>828.24</c:v>
                </c:pt>
                <c:pt idx="6">
                  <c:v>379.28</c:v>
                </c:pt>
                <c:pt idx="7">
                  <c:v>1239.0</c:v>
                </c:pt>
                <c:pt idx="8">
                  <c:v>830.08</c:v>
                </c:pt>
                <c:pt idx="9">
                  <c:v>407.99</c:v>
                </c:pt>
                <c:pt idx="10">
                  <c:v>350.51</c:v>
                </c:pt>
                <c:pt idx="11">
                  <c:v>357.0</c:v>
                </c:pt>
                <c:pt idx="12">
                  <c:v>1003.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9.0</a:t>
                    </a:r>
                  </a:p>
                </c:rich>
              </c:tx>
              <c:showLegendKey val="0"/>
              <c:showVal val="1"/>
              <c:showCatName val="0"/>
              <c:showSerName val="0"/>
              <c:showPercent val="0"/>
              <c:showBubbleSize val="0"/>
            </c:dLbl>
            <c:dLbl>
              <c:idx val="1"/>
              <c:tx>
                <c:rich>
                  <a:bodyPr/>
                  <a:lstStyle/>
                  <a:p>
                    <a:r>
                      <a:t>674.89</a:t>
                    </a:r>
                  </a:p>
                </c:rich>
              </c:tx>
              <c:showLegendKey val="0"/>
              <c:showVal val="1"/>
              <c:showCatName val="0"/>
              <c:showSerName val="0"/>
              <c:showPercent val="0"/>
              <c:showBubbleSize val="0"/>
            </c:dLbl>
            <c:dLbl>
              <c:idx val="2"/>
              <c:tx>
                <c:rich>
                  <a:bodyPr/>
                  <a:lstStyle/>
                  <a:p>
                    <a:r>
                      <a:t>601.2</a:t>
                    </a:r>
                  </a:p>
                </c:rich>
              </c:tx>
              <c:showLegendKey val="0"/>
              <c:showVal val="1"/>
              <c:showCatName val="0"/>
              <c:showSerName val="0"/>
              <c:showPercent val="0"/>
              <c:showBubbleSize val="0"/>
            </c:dLbl>
            <c:dLbl>
              <c:idx val="3"/>
              <c:tx>
                <c:rich>
                  <a:bodyPr/>
                  <a:lstStyle/>
                  <a:p>
                    <a:r>
                      <a:t>542.95</a:t>
                    </a:r>
                  </a:p>
                </c:rich>
              </c:tx>
              <c:showLegendKey val="0"/>
              <c:showVal val="1"/>
              <c:showCatName val="0"/>
              <c:showSerName val="0"/>
              <c:showPercent val="0"/>
              <c:showBubbleSize val="0"/>
            </c:dLbl>
            <c:dLbl>
              <c:idx val="4"/>
              <c:tx>
                <c:rich>
                  <a:bodyPr/>
                  <a:lstStyle/>
                  <a:p>
                    <a:r>
                      <a:t>821.97</a:t>
                    </a:r>
                  </a:p>
                </c:rich>
              </c:tx>
              <c:showLegendKey val="0"/>
              <c:showVal val="1"/>
              <c:showCatName val="0"/>
              <c:showSerName val="0"/>
              <c:showPercent val="0"/>
              <c:showBubbleSize val="0"/>
            </c:dLbl>
            <c:dLbl>
              <c:idx val="5"/>
              <c:tx>
                <c:rich>
                  <a:bodyPr/>
                  <a:lstStyle/>
                  <a:p>
                    <a:r>
                      <a:t>719.16</a:t>
                    </a:r>
                  </a:p>
                </c:rich>
              </c:tx>
              <c:showLegendKey val="0"/>
              <c:showVal val="1"/>
              <c:showCatName val="0"/>
              <c:showSerName val="0"/>
              <c:showPercent val="0"/>
              <c:showBubbleSize val="0"/>
            </c:dLbl>
            <c:dLbl>
              <c:idx val="6"/>
              <c:tx>
                <c:rich>
                  <a:bodyPr/>
                  <a:lstStyle/>
                  <a:p>
                    <a:r>
                      <a:t>713.48</a:t>
                    </a:r>
                  </a:p>
                </c:rich>
              </c:tx>
              <c:showLegendKey val="0"/>
              <c:showVal val="1"/>
              <c:showCatName val="0"/>
              <c:showSerName val="0"/>
              <c:showPercent val="0"/>
              <c:showBubbleSize val="0"/>
            </c:dLbl>
            <c:dLbl>
              <c:idx val="7"/>
              <c:tx>
                <c:rich>
                  <a:bodyPr/>
                  <a:lstStyle/>
                  <a:p>
                    <a:r>
                      <a:t>155.91</a:t>
                    </a:r>
                  </a:p>
                </c:rich>
              </c:tx>
              <c:showLegendKey val="0"/>
              <c:showVal val="1"/>
              <c:showCatName val="0"/>
              <c:showSerName val="0"/>
              <c:showPercent val="0"/>
              <c:showBubbleSize val="0"/>
            </c:dLbl>
            <c:dLbl>
              <c:idx val="8"/>
              <c:tx>
                <c:rich>
                  <a:bodyPr/>
                  <a:lstStyle/>
                  <a:p>
                    <a:r>
                      <a:t>235.8</a:t>
                    </a:r>
                  </a:p>
                </c:rich>
              </c:tx>
              <c:showLegendKey val="0"/>
              <c:showVal val="1"/>
              <c:showCatName val="0"/>
              <c:showSerName val="0"/>
              <c:showPercent val="0"/>
              <c:showBubbleSize val="0"/>
            </c:dLbl>
            <c:dLbl>
              <c:idx val="9"/>
              <c:tx>
                <c:rich>
                  <a:bodyPr/>
                  <a:lstStyle/>
                  <a:p>
                    <a:r>
                      <a:t>88.62</a:t>
                    </a:r>
                  </a:p>
                </c:rich>
              </c:tx>
              <c:showLegendKey val="0"/>
              <c:showVal val="1"/>
              <c:showCatName val="0"/>
              <c:showSerName val="0"/>
              <c:showPercent val="0"/>
              <c:showBubbleSize val="0"/>
            </c:dLbl>
            <c:dLbl>
              <c:idx val="10"/>
              <c:tx>
                <c:rich>
                  <a:bodyPr/>
                  <a:lstStyle/>
                  <a:p>
                    <a:r>
                      <a:t>371.44</a:t>
                    </a:r>
                  </a:p>
                </c:rich>
              </c:tx>
              <c:showLegendKey val="0"/>
              <c:showVal val="1"/>
              <c:showCatName val="0"/>
              <c:showSerName val="0"/>
              <c:showPercent val="0"/>
              <c:showBubbleSize val="0"/>
            </c:dLbl>
            <c:dLbl>
              <c:idx val="11"/>
              <c:tx>
                <c:rich>
                  <a:bodyPr/>
                  <a:lstStyle/>
                  <a:p>
                    <a:r>
                      <a:t>88.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dgewell Banana Boat Tanning Sunscreen Adults Cosmetics Aceite 15 - 19 240Ml</c:v>
                </c:pt>
                <c:pt idx="1">
                  <c:v>Isdin Isdin Sunscreen Adults Derma Spray Aceite 50 200Ml</c:v>
                </c:pt>
                <c:pt idx="2">
                  <c:v>Isdin Isdin Sunscreen Adults Derma Aceite 30 200Ml</c:v>
                </c:pt>
                <c:pt idx="3">
                  <c:v>L'Oreal La Roche-Posay Sunscreen Adults Derma Spray Aceite 50 75Ml</c:v>
                </c:pt>
                <c:pt idx="4">
                  <c:v>L'Oreal La Roche-Posay Sunscreen Adults Derma Spray Aceite 50+ 200Ml</c:v>
                </c:pt>
                <c:pt idx="5">
                  <c:v>L'Oreal Vichy Sunscreen Adults Derma Spray Aceite 50 50Ml</c:v>
                </c:pt>
                <c:pt idx="6">
                  <c:v>L'Oreal Vichy Sunscreen Adults Derma Spray Aceite 50+ 200Ml</c:v>
                </c:pt>
                <c:pt idx="7">
                  <c:v>Others Fabricante Unif. Others Marca Unif. Sunscreen Adults Cosmetics Aceite 30 - 49 75Ml</c:v>
                </c:pt>
                <c:pt idx="8">
                  <c:v>Others Fabricante Unif. Others Marca Unif. Sunscreen Adults Cosmetics Aceite 30 - 49 150Ml</c:v>
                </c:pt>
                <c:pt idx="9">
                  <c:v>Others Fabricante Unif. Others Marca Unif. Sunscreen Adults Derma Spray Aceite 50+ 150Ml</c:v>
                </c:pt>
                <c:pt idx="10">
                  <c:v>Others Fabricante Unif. Others Marca Unif. Sunscreen Adults Cosmetics Spray Aceite 30 200Ml</c:v>
                </c:pt>
                <c:pt idx="11">
                  <c:v>Others Fabricante Unif. Others Marca Unif. Sunscreen Kids Derma Spray Aceite 50+ 150Ml</c:v>
                </c:pt>
              </c:strCache>
            </c:strRef>
          </c:cat>
          <c:val>
            <c:numRef>
              <c:f>Sheet1!$B$2:$B$13</c:f>
              <c:numCache>
                <c:formatCode>General</c:formatCode>
                <c:ptCount val="12"/>
                <c:pt idx="0">
                  <c:v>399.0</c:v>
                </c:pt>
                <c:pt idx="1">
                  <c:v>674.89</c:v>
                </c:pt>
                <c:pt idx="2">
                  <c:v>601.2</c:v>
                </c:pt>
                <c:pt idx="3">
                  <c:v>542.95</c:v>
                </c:pt>
                <c:pt idx="4">
                  <c:v>821.97</c:v>
                </c:pt>
                <c:pt idx="5">
                  <c:v>719.16</c:v>
                </c:pt>
                <c:pt idx="6">
                  <c:v>713.48</c:v>
                </c:pt>
                <c:pt idx="7">
                  <c:v>155.91</c:v>
                </c:pt>
                <c:pt idx="8">
                  <c:v>235.8</c:v>
                </c:pt>
                <c:pt idx="9">
                  <c:v>88.62</c:v>
                </c:pt>
                <c:pt idx="10">
                  <c:v>371.44</c:v>
                </c:pt>
                <c:pt idx="11">
                  <c:v>88.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5.74</a:t>
                    </a:r>
                  </a:p>
                </c:rich>
              </c:tx>
              <c:showLegendKey val="0"/>
              <c:showVal val="1"/>
              <c:showCatName val="0"/>
              <c:showSerName val="0"/>
              <c:showPercent val="0"/>
              <c:showBubbleSize val="0"/>
            </c:dLbl>
            <c:dLbl>
              <c:idx val="1"/>
              <c:tx>
                <c:rich>
                  <a:bodyPr/>
                  <a:lstStyle/>
                  <a:p>
                    <a:r>
                      <a:t>303.99</a:t>
                    </a:r>
                  </a:p>
                </c:rich>
              </c:tx>
              <c:showLegendKey val="0"/>
              <c:showVal val="1"/>
              <c:showCatName val="0"/>
              <c:showSerName val="0"/>
              <c:showPercent val="0"/>
              <c:showBubbleSize val="0"/>
            </c:dLbl>
            <c:dLbl>
              <c:idx val="2"/>
              <c:tx>
                <c:rich>
                  <a:bodyPr/>
                  <a:lstStyle/>
                  <a:p>
                    <a:r>
                      <a:t>290.72</a:t>
                    </a:r>
                  </a:p>
                </c:rich>
              </c:tx>
              <c:showLegendKey val="0"/>
              <c:showVal val="1"/>
              <c:showCatName val="0"/>
              <c:showSerName val="0"/>
              <c:showPercent val="0"/>
              <c:showBubbleSize val="0"/>
            </c:dLbl>
            <c:dLbl>
              <c:idx val="3"/>
              <c:tx>
                <c:rich>
                  <a:bodyPr/>
                  <a:lstStyle/>
                  <a:p>
                    <a:r>
                      <a:t>189.32</a:t>
                    </a:r>
                  </a:p>
                </c:rich>
              </c:tx>
              <c:showLegendKey val="0"/>
              <c:showVal val="1"/>
              <c:showCatName val="0"/>
              <c:showSerName val="0"/>
              <c:showPercent val="0"/>
              <c:showBubbleSize val="0"/>
            </c:dLbl>
            <c:dLbl>
              <c:idx val="4"/>
              <c:tx>
                <c:rich>
                  <a:bodyPr/>
                  <a:lstStyle/>
                  <a:p>
                    <a:r>
                      <a:t>301.36</a:t>
                    </a:r>
                  </a:p>
                </c:rich>
              </c:tx>
              <c:showLegendKey val="0"/>
              <c:showVal val="1"/>
              <c:showCatName val="0"/>
              <c:showSerName val="0"/>
              <c:showPercent val="0"/>
              <c:showBubbleSize val="0"/>
            </c:dLbl>
            <c:dLbl>
              <c:idx val="5"/>
              <c:tx>
                <c:rich>
                  <a:bodyPr/>
                  <a:lstStyle/>
                  <a:p>
                    <a:r>
                      <a:t>281.56</a:t>
                    </a:r>
                  </a:p>
                </c:rich>
              </c:tx>
              <c:showLegendKey val="0"/>
              <c:showVal val="1"/>
              <c:showCatName val="0"/>
              <c:showSerName val="0"/>
              <c:showPercent val="0"/>
              <c:showBubbleSize val="0"/>
            </c:dLbl>
            <c:dLbl>
              <c:idx val="6"/>
              <c:tx>
                <c:rich>
                  <a:bodyPr/>
                  <a:lstStyle/>
                  <a:p>
                    <a:r>
                      <a:t>316.47</a:t>
                    </a:r>
                  </a:p>
                </c:rich>
              </c:tx>
              <c:showLegendKey val="0"/>
              <c:showVal val="1"/>
              <c:showCatName val="0"/>
              <c:showSerName val="0"/>
              <c:showPercent val="0"/>
              <c:showBubbleSize val="0"/>
            </c:dLbl>
            <c:dLbl>
              <c:idx val="7"/>
              <c:tx>
                <c:rich>
                  <a:bodyPr/>
                  <a:lstStyle/>
                  <a:p>
                    <a:r>
                      <a:t>707.87</a:t>
                    </a:r>
                  </a:p>
                </c:rich>
              </c:tx>
              <c:showLegendKey val="0"/>
              <c:showVal val="1"/>
              <c:showCatName val="0"/>
              <c:showSerName val="0"/>
              <c:showPercent val="0"/>
              <c:showBubbleSize val="0"/>
            </c:dLbl>
            <c:dLbl>
              <c:idx val="8"/>
              <c:tx>
                <c:rich>
                  <a:bodyPr/>
                  <a:lstStyle/>
                  <a:p>
                    <a:r>
                      <a:t>281.02</a:t>
                    </a:r>
                  </a:p>
                </c:rich>
              </c:tx>
              <c:showLegendKey val="0"/>
              <c:showVal val="1"/>
              <c:showCatName val="0"/>
              <c:showSerName val="0"/>
              <c:showPercent val="0"/>
              <c:showBubbleSize val="0"/>
            </c:dLbl>
            <c:dLbl>
              <c:idx val="9"/>
              <c:tx>
                <c:rich>
                  <a:bodyPr/>
                  <a:lstStyle/>
                  <a:p>
                    <a:r>
                      <a:t>766.5</a:t>
                    </a:r>
                  </a:p>
                </c:rich>
              </c:tx>
              <c:showLegendKey val="0"/>
              <c:showVal val="1"/>
              <c:showCatName val="0"/>
              <c:showSerName val="0"/>
              <c:showPercent val="0"/>
              <c:showBubbleSize val="0"/>
            </c:dLbl>
            <c:dLbl>
              <c:idx val="10"/>
              <c:tx>
                <c:rich>
                  <a:bodyPr/>
                  <a:lstStyle/>
                  <a:p>
                    <a:r>
                      <a:t>635.1</a:t>
                    </a:r>
                  </a:p>
                </c:rich>
              </c:tx>
              <c:showLegendKey val="0"/>
              <c:showVal val="1"/>
              <c:showCatName val="0"/>
              <c:showSerName val="0"/>
              <c:showPercent val="0"/>
              <c:showBubbleSize val="0"/>
            </c:dLbl>
            <c:dLbl>
              <c:idx val="11"/>
              <c:tx>
                <c:rich>
                  <a:bodyPr/>
                  <a:lstStyle/>
                  <a:p>
                    <a:r>
                      <a:t>641.3</a:t>
                    </a:r>
                  </a:p>
                </c:rich>
              </c:tx>
              <c:showLegendKey val="0"/>
              <c:showVal val="1"/>
              <c:showCatName val="0"/>
              <c:showSerName val="0"/>
              <c:showPercent val="0"/>
              <c:showBubbleSize val="0"/>
            </c:dLbl>
            <c:dLbl>
              <c:idx val="12"/>
              <c:tx>
                <c:rich>
                  <a:bodyPr/>
                  <a:lstStyle/>
                  <a:p>
                    <a:r>
                      <a:t>647.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dgewell Hawaiian Tropic Other Sunscreen Adults Cosmetics Crema 50+ 240Ml</c:v>
                </c:pt>
                <c:pt idx="1">
                  <c:v>Edgewell Banana Boat Aqua Protect Sunscreen Adults Sport Crema 50+ 236Ml</c:v>
                </c:pt>
                <c:pt idx="2">
                  <c:v>Edgewell Banana Boat Aqua Protect Sunscreen Adults Cosmetics Crema 50+ 236Ml</c:v>
                </c:pt>
                <c:pt idx="3">
                  <c:v>Edgewell Hawaiian Tropic Sheer Touch Sunscreen Adults Cosmetics Crema 50 120Ml</c:v>
                </c:pt>
                <c:pt idx="4">
                  <c:v>Edgewell Hawaiian Tropic Sheer Touch Sunscreen Adults Cosmetics Crema 30 - 49 240Ml</c:v>
                </c:pt>
                <c:pt idx="5">
                  <c:v>Beiersdorf Nivea Sunscreen Adults Cosmetics Crema 50 50Ml</c:v>
                </c:pt>
                <c:pt idx="6">
                  <c:v>Beiersdorf Nivea Sunscreen Adults Cosmetics Crema 50+ 200Ml</c:v>
                </c:pt>
                <c:pt idx="7">
                  <c:v>Beiersdorf Eucerin Sunscreen Adults Derma Crema 50+ 50Ml</c:v>
                </c:pt>
                <c:pt idx="8">
                  <c:v>Beiersdorf Nivea Sunscreen Adults Cosmetics Crema 50+ 40Ml</c:v>
                </c:pt>
                <c:pt idx="9">
                  <c:v>Beiersdorf Eucerin Sunscreen Adults Derma Crema 50+ 200Ml</c:v>
                </c:pt>
                <c:pt idx="10">
                  <c:v>Isdin Isdin Sunscreen Adults Derma Crema 50+ 50Ml</c:v>
                </c:pt>
                <c:pt idx="11">
                  <c:v>Isdin Isdin Sunscreen Adults Derma Crema 50 50Ml</c:v>
                </c:pt>
                <c:pt idx="12">
                  <c:v>Isdin Isdin Sunscreen Adults Derma Crema 30 50Ml</c:v>
                </c:pt>
              </c:strCache>
            </c:strRef>
          </c:cat>
          <c:val>
            <c:numRef>
              <c:f>Sheet1!$B$2:$B$14</c:f>
              <c:numCache>
                <c:formatCode>General</c:formatCode>
                <c:ptCount val="13"/>
                <c:pt idx="0">
                  <c:v>305.74</c:v>
                </c:pt>
                <c:pt idx="1">
                  <c:v>303.99</c:v>
                </c:pt>
                <c:pt idx="2">
                  <c:v>290.72</c:v>
                </c:pt>
                <c:pt idx="3">
                  <c:v>189.32</c:v>
                </c:pt>
                <c:pt idx="4">
                  <c:v>301.36</c:v>
                </c:pt>
                <c:pt idx="5">
                  <c:v>281.56</c:v>
                </c:pt>
                <c:pt idx="6">
                  <c:v>316.47</c:v>
                </c:pt>
                <c:pt idx="7">
                  <c:v>707.87</c:v>
                </c:pt>
                <c:pt idx="8">
                  <c:v>281.02</c:v>
                </c:pt>
                <c:pt idx="9">
                  <c:v>766.5</c:v>
                </c:pt>
                <c:pt idx="10">
                  <c:v>635.1</c:v>
                </c:pt>
                <c:pt idx="11">
                  <c:v>641.3</c:v>
                </c:pt>
                <c:pt idx="12">
                  <c:v>647.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32</a:t>
                    </a:r>
                  </a:p>
                </c:rich>
              </c:tx>
              <c:showLegendKey val="0"/>
              <c:showVal val="1"/>
              <c:showCatName val="0"/>
              <c:showSerName val="0"/>
              <c:showPercent val="0"/>
              <c:showBubbleSize val="0"/>
            </c:dLbl>
            <c:dLbl>
              <c:idx val="1"/>
              <c:tx>
                <c:rich>
                  <a:bodyPr/>
                  <a:lstStyle/>
                  <a:p>
                    <a:r>
                      <a:t>629.46</a:t>
                    </a:r>
                  </a:p>
                </c:rich>
              </c:tx>
              <c:showLegendKey val="0"/>
              <c:showVal val="1"/>
              <c:showCatName val="0"/>
              <c:showSerName val="0"/>
              <c:showPercent val="0"/>
              <c:showBubbleSize val="0"/>
            </c:dLbl>
            <c:dLbl>
              <c:idx val="2"/>
              <c:tx>
                <c:rich>
                  <a:bodyPr/>
                  <a:lstStyle/>
                  <a:p>
                    <a:r>
                      <a:t>648.86</a:t>
                    </a:r>
                  </a:p>
                </c:rich>
              </c:tx>
              <c:showLegendKey val="0"/>
              <c:showVal val="1"/>
              <c:showCatName val="0"/>
              <c:showSerName val="0"/>
              <c:showPercent val="0"/>
              <c:showBubbleSize val="0"/>
            </c:dLbl>
            <c:dLbl>
              <c:idx val="3"/>
              <c:tx>
                <c:rich>
                  <a:bodyPr/>
                  <a:lstStyle/>
                  <a:p>
                    <a:r>
                      <a:t>754.87</a:t>
                    </a:r>
                  </a:p>
                </c:rich>
              </c:tx>
              <c:showLegendKey val="0"/>
              <c:showVal val="1"/>
              <c:showCatName val="0"/>
              <c:showSerName val="0"/>
              <c:showPercent val="0"/>
              <c:showBubbleSize val="0"/>
            </c:dLbl>
            <c:dLbl>
              <c:idx val="4"/>
              <c:tx>
                <c:rich>
                  <a:bodyPr/>
                  <a:lstStyle/>
                  <a:p>
                    <a:r>
                      <a:t>837.7</a:t>
                    </a:r>
                  </a:p>
                </c:rich>
              </c:tx>
              <c:showLegendKey val="0"/>
              <c:showVal val="1"/>
              <c:showCatName val="0"/>
              <c:showSerName val="0"/>
              <c:showPercent val="0"/>
              <c:showBubbleSize val="0"/>
            </c:dLbl>
            <c:dLbl>
              <c:idx val="5"/>
              <c:tx>
                <c:rich>
                  <a:bodyPr/>
                  <a:lstStyle/>
                  <a:p>
                    <a:r>
                      <a:t>636.5</a:t>
                    </a:r>
                  </a:p>
                </c:rich>
              </c:tx>
              <c:showLegendKey val="0"/>
              <c:showVal val="1"/>
              <c:showCatName val="0"/>
              <c:showSerName val="0"/>
              <c:showPercent val="0"/>
              <c:showBubbleSize val="0"/>
            </c:dLbl>
            <c:dLbl>
              <c:idx val="6"/>
              <c:tx>
                <c:rich>
                  <a:bodyPr/>
                  <a:lstStyle/>
                  <a:p>
                    <a:r>
                      <a:t>728.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Edgewell Banana Boat Advanced Protection Sunscreen Adults Cosmetics Fluido 50+ 50Ml</c:v>
                </c:pt>
                <c:pt idx="1">
                  <c:v>L'Oreal La Roche-Posay Sunscreen Adults Derma Fluido 50+ 50Ml</c:v>
                </c:pt>
                <c:pt idx="2">
                  <c:v>Isdin Isdin Sunscreen Adults Derma Fluido 50+ 50Ml</c:v>
                </c:pt>
                <c:pt idx="3">
                  <c:v>Pierre Fabre Avene Sunscreen Adults Derma Fluido 50+ 50Ml</c:v>
                </c:pt>
                <c:pt idx="4">
                  <c:v>Pierre Fabre Avene Sunscreen Adults Derma Fluido 50+ 40Ml</c:v>
                </c:pt>
                <c:pt idx="5">
                  <c:v>Isdin Isdin Sunscreen Baby Derma Fluido 50 50Ml</c:v>
                </c:pt>
                <c:pt idx="6">
                  <c:v>L'Oreal La Roche-Posay Sunscreen Kids Derma Fluido 50+ 50Ml</c:v>
                </c:pt>
              </c:strCache>
            </c:strRef>
          </c:cat>
          <c:val>
            <c:numRef>
              <c:f>Sheet1!$B$2:$B$8</c:f>
              <c:numCache>
                <c:formatCode>General</c:formatCode>
                <c:ptCount val="7"/>
                <c:pt idx="0">
                  <c:v>295.32</c:v>
                </c:pt>
                <c:pt idx="1">
                  <c:v>629.46</c:v>
                </c:pt>
                <c:pt idx="2">
                  <c:v>648.86</c:v>
                </c:pt>
                <c:pt idx="3">
                  <c:v>754.87</c:v>
                </c:pt>
                <c:pt idx="4">
                  <c:v>837.7</c:v>
                </c:pt>
                <c:pt idx="5">
                  <c:v>636.5</c:v>
                </c:pt>
                <c:pt idx="6">
                  <c:v>728.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242.xml.rels><?xml version='1.0' encoding='UTF-8' standalone='yes'?>
<Relationships xmlns="http://schemas.openxmlformats.org/package/2006/relationships"><Relationship Id="rId1" Type="http://schemas.openxmlformats.org/officeDocument/2006/relationships/tags" Target="../tags/tag2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2.xml"/></Relationships>
</file>

<file path=ppt/slides/_rels/slide243.xml.rels><?xml version='1.0' encoding='UTF-8' standalone='yes'?>
<Relationships xmlns="http://schemas.openxmlformats.org/package/2006/relationships"><Relationship Id="rId1" Type="http://schemas.openxmlformats.org/officeDocument/2006/relationships/tags" Target="../tags/tag2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3.xml"/></Relationships>
</file>

<file path=ppt/slides/_rels/slide244.xml.rels><?xml version='1.0' encoding='UTF-8' standalone='yes'?>
<Relationships xmlns="http://schemas.openxmlformats.org/package/2006/relationships"><Relationship Id="rId1" Type="http://schemas.openxmlformats.org/officeDocument/2006/relationships/tags" Target="../tags/tag2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4.xml"/></Relationships>
</file>

<file path=ppt/slides/_rels/slide245.xml.rels><?xml version='1.0' encoding='UTF-8' standalone='yes'?>
<Relationships xmlns="http://schemas.openxmlformats.org/package/2006/relationships"><Relationship Id="rId1" Type="http://schemas.openxmlformats.org/officeDocument/2006/relationships/tags" Target="../tags/tag2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5.xml"/></Relationships>
</file>

<file path=ppt/slides/_rels/slide246.xml.rels><?xml version='1.0' encoding='UTF-8' standalone='yes'?>
<Relationships xmlns="http://schemas.openxmlformats.org/package/2006/relationships"><Relationship Id="rId1" Type="http://schemas.openxmlformats.org/officeDocument/2006/relationships/tags" Target="../tags/tag2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6.xml"/></Relationships>
</file>

<file path=ppt/slides/_rels/slide247.xml.rels><?xml version='1.0' encoding='UTF-8' standalone='yes'?>
<Relationships xmlns="http://schemas.openxmlformats.org/package/2006/relationships"><Relationship Id="rId1" Type="http://schemas.openxmlformats.org/officeDocument/2006/relationships/tags" Target="../tags/tag2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7.xml"/></Relationships>
</file>

<file path=ppt/slides/_rels/slide248.xml.rels><?xml version='1.0' encoding='UTF-8' standalone='yes'?>
<Relationships xmlns="http://schemas.openxmlformats.org/package/2006/relationships"><Relationship Id="rId1" Type="http://schemas.openxmlformats.org/officeDocument/2006/relationships/tags" Target="../tags/tag2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8.xml"/></Relationships>
</file>

<file path=ppt/slides/_rels/slide249.xml.rels><?xml version='1.0' encoding='UTF-8' standalone='yes'?>
<Relationships xmlns="http://schemas.openxmlformats.org/package/2006/relationships"><Relationship Id="rId1" Type="http://schemas.openxmlformats.org/officeDocument/2006/relationships/tags" Target="../tags/tag2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9.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50.xml.rels><?xml version='1.0' encoding='UTF-8' standalone='yes'?>
<Relationships xmlns="http://schemas.openxmlformats.org/package/2006/relationships"><Relationship Id="rId1" Type="http://schemas.openxmlformats.org/officeDocument/2006/relationships/tags" Target="../tags/tag2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0.xml"/></Relationships>
</file>

<file path=ppt/slides/_rels/slide251.xml.rels><?xml version='1.0' encoding='UTF-8' standalone='yes'?>
<Relationships xmlns="http://schemas.openxmlformats.org/package/2006/relationships"><Relationship Id="rId1" Type="http://schemas.openxmlformats.org/officeDocument/2006/relationships/tags" Target="../tags/tag2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1.xml"/></Relationships>
</file>

<file path=ppt/slides/_rels/slide252.xml.rels><?xml version='1.0' encoding='UTF-8' standalone='yes'?>
<Relationships xmlns="http://schemas.openxmlformats.org/package/2006/relationships"><Relationship Id="rId1" Type="http://schemas.openxmlformats.org/officeDocument/2006/relationships/tags" Target="../tags/tag2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2.xml"/></Relationships>
</file>

<file path=ppt/slides/_rels/slide253.xml.rels><?xml version='1.0' encoding='UTF-8' standalone='yes'?>
<Relationships xmlns="http://schemas.openxmlformats.org/package/2006/relationships"><Relationship Id="rId1" Type="http://schemas.openxmlformats.org/officeDocument/2006/relationships/tags" Target="../tags/tag2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3.xml"/></Relationships>
</file>

<file path=ppt/slides/_rels/slide254.xml.rels><?xml version='1.0' encoding='UTF-8' standalone='yes'?>
<Relationships xmlns="http://schemas.openxmlformats.org/package/2006/relationships"><Relationship Id="rId1" Type="http://schemas.openxmlformats.org/officeDocument/2006/relationships/tags" Target="../tags/tag2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4.xml"/></Relationships>
</file>

<file path=ppt/slides/_rels/slide255.xml.rels><?xml version='1.0' encoding='UTF-8' standalone='yes'?>
<Relationships xmlns="http://schemas.openxmlformats.org/package/2006/relationships"><Relationship Id="rId1" Type="http://schemas.openxmlformats.org/officeDocument/2006/relationships/tags" Target="../tags/tag2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5.xml"/></Relationships>
</file>

<file path=ppt/slides/_rels/slide256.xml.rels><?xml version='1.0' encoding='UTF-8' standalone='yes'?>
<Relationships xmlns="http://schemas.openxmlformats.org/package/2006/relationships"><Relationship Id="rId1" Type="http://schemas.openxmlformats.org/officeDocument/2006/relationships/tags" Target="../tags/tag2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6.xml"/></Relationships>
</file>

<file path=ppt/slides/_rels/slide257.xml.rels><?xml version='1.0' encoding='UTF-8' standalone='yes'?>
<Relationships xmlns="http://schemas.openxmlformats.org/package/2006/relationships"><Relationship Id="rId1" Type="http://schemas.openxmlformats.org/officeDocument/2006/relationships/tags" Target="../tags/tag2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7.xml"/></Relationships>
</file>

<file path=ppt/slides/_rels/slide258.xml.rels><?xml version='1.0' encoding='UTF-8' standalone='yes'?>
<Relationships xmlns="http://schemas.openxmlformats.org/package/2006/relationships"><Relationship Id="rId1" Type="http://schemas.openxmlformats.org/officeDocument/2006/relationships/tags" Target="../tags/tag2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8.xml"/></Relationships>
</file>

<file path=ppt/slides/_rels/slide259.xml.rels><?xml version='1.0' encoding='UTF-8' standalone='yes'?>
<Relationships xmlns="http://schemas.openxmlformats.org/package/2006/relationships"><Relationship Id="rId1" Type="http://schemas.openxmlformats.org/officeDocument/2006/relationships/tags" Target="../tags/tag2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9.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60.xml.rels><?xml version='1.0' encoding='UTF-8' standalone='yes'?>
<Relationships xmlns="http://schemas.openxmlformats.org/package/2006/relationships"><Relationship Id="rId1" Type="http://schemas.openxmlformats.org/officeDocument/2006/relationships/tags" Target="../tags/tag2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0.xml"/></Relationships>
</file>

<file path=ppt/slides/_rels/slide261.xml.rels><?xml version='1.0' encoding='UTF-8' standalone='yes'?>
<Relationships xmlns="http://schemas.openxmlformats.org/package/2006/relationships"><Relationship Id="rId1" Type="http://schemas.openxmlformats.org/officeDocument/2006/relationships/tags" Target="../tags/tag2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1.xml"/></Relationships>
</file>

<file path=ppt/slides/_rels/slide262.xml.rels><?xml version='1.0' encoding='UTF-8' standalone='yes'?>
<Relationships xmlns="http://schemas.openxmlformats.org/package/2006/relationships"><Relationship Id="rId1" Type="http://schemas.openxmlformats.org/officeDocument/2006/relationships/tags" Target="../tags/tag2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2.xml"/></Relationships>
</file>

<file path=ppt/slides/_rels/slide263.xml.rels><?xml version='1.0' encoding='UTF-8' standalone='yes'?>
<Relationships xmlns="http://schemas.openxmlformats.org/package/2006/relationships"><Relationship Id="rId1" Type="http://schemas.openxmlformats.org/officeDocument/2006/relationships/tags" Target="../tags/tag2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3.xml"/></Relationships>
</file>

<file path=ppt/slides/_rels/slide264.xml.rels><?xml version='1.0' encoding='UTF-8' standalone='yes'?>
<Relationships xmlns="http://schemas.openxmlformats.org/package/2006/relationships"><Relationship Id="rId1" Type="http://schemas.openxmlformats.org/officeDocument/2006/relationships/tags" Target="../tags/tag2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4.xml"/></Relationships>
</file>

<file path=ppt/slides/_rels/slide265.xml.rels><?xml version='1.0' encoding='UTF-8' standalone='yes'?>
<Relationships xmlns="http://schemas.openxmlformats.org/package/2006/relationships"><Relationship Id="rId1" Type="http://schemas.openxmlformats.org/officeDocument/2006/relationships/tags" Target="../tags/tag2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5.xml"/></Relationships>
</file>

<file path=ppt/slides/_rels/slide266.xml.rels><?xml version='1.0' encoding='UTF-8' standalone='yes'?>
<Relationships xmlns="http://schemas.openxmlformats.org/package/2006/relationships"><Relationship Id="rId1" Type="http://schemas.openxmlformats.org/officeDocument/2006/relationships/tags" Target="../tags/tag2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6.xml"/></Relationships>
</file>

<file path=ppt/slides/_rels/slide267.xml.rels><?xml version='1.0' encoding='UTF-8' standalone='yes'?>
<Relationships xmlns="http://schemas.openxmlformats.org/package/2006/relationships"><Relationship Id="rId1" Type="http://schemas.openxmlformats.org/officeDocument/2006/relationships/tags" Target="../tags/tag2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7.xml"/></Relationships>
</file>

<file path=ppt/slides/_rels/slide268.xml.rels><?xml version='1.0' encoding='UTF-8' standalone='yes'?>
<Relationships xmlns="http://schemas.openxmlformats.org/package/2006/relationships"><Relationship Id="rId1" Type="http://schemas.openxmlformats.org/officeDocument/2006/relationships/tags" Target="../tags/tag2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420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8408794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786894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Kid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8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859886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7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28012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4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8244260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f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fc Heliocare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Spray Aceite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95941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Crema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2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29.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6.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0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6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3743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0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1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1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8119861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0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5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2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5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637316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0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18808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3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880683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40099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1.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1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8195387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4639340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0411760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J&amp;J</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110222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3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00830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Liquido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Baby Derma Liquido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8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0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723905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Kid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Locion 50 201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6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003665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761328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30 - 49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Sport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Kid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0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522987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3360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6986267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43959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6172944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490872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685966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094133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011055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163830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9592699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577588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99420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34991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335134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4164990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901892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2954512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7444171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337960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405748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0843411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6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484479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6593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758438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806176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2008541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2405783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905261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8438342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161204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Cosmetics Stick 30 - 49 42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67.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04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4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8632145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Aceite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Spray Aceite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672884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Spray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9.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3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426177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3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2.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1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9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70323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1.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403887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Emuls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Mineral Sunscreen Adults Cosmetics Emulsion 30 - 49 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Emulsion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831289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2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7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5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720141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206494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6.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499975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National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1.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930463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Kid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88.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313029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089560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4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4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5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38.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0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8745679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Aceite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Spray Aceite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236403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Moderno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Spray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7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0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40907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5.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685789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7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0.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96.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0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38.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8191053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7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1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12677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Moderno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314265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1143431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Canal Moderno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0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1.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2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6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33.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445797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Kid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2.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89.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7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70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564949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7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9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8922365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Moderno | Sunscreen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4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3.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4.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2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9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352154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elio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fc Heliocare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0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2.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086140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onvenience + Farmacias Cad + Hard Discounters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Spray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Spray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Kids Derma Spray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8.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6.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16169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ded Pa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Sunscreen Adults Cosmetics Spray Liquido 30 - 49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nded Pack Banded Pack 2X Sunscreen Multi 30 |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694239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Crema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Spray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Kids Derma Spray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26.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32.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6.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06.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2.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083925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ve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0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1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1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393666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onvenience + Farmacias Cad + Hard Discounters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5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5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2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5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9179887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5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5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2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5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7164073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Convenience + Farmacias Cad + Hard Discounters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59.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8.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0.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5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2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54.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8.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594695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Sport Spray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Kid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3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ocion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Locion 50+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Cosmetics Spray Locion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0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4.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13838867"/>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onvenience + Farmacias Cad + Hard Discounters | Sunscreen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3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0033848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Tradicional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1.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1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16066136"/>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Canal Tradicional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790012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Tradicional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932267">
                  <a:extLst>
                    <a:ext uri="{9D8B030D-6E8A-4147-A177-3AD203B41FA5}">
                      <a16:colId xmlns:a16="http://schemas.microsoft.com/office/drawing/2014/main" val="1249427694"/>
                    </a:ext>
                  </a:extLst>
                </a:gridCol>
                <a:gridCol w="932267">
                  <a:extLst>
                    <a:ext uri="{9D8B030D-6E8A-4147-A177-3AD203B41FA5}">
                      <a16:colId xmlns:a16="http://schemas.microsoft.com/office/drawing/2014/main" val="2218987241"/>
                    </a:ext>
                  </a:extLst>
                </a:gridCol>
                <a:gridCol w="932267">
                  <a:extLst>
                    <a:ext uri="{9D8B030D-6E8A-4147-A177-3AD203B41FA5}">
                      <a16:colId xmlns:a16="http://schemas.microsoft.com/office/drawing/2014/main" val="3054438620"/>
                    </a:ext>
                  </a:extLst>
                </a:gridCol>
                <a:gridCol w="932267">
                  <a:extLst>
                    <a:ext uri="{9D8B030D-6E8A-4147-A177-3AD203B41FA5}">
                      <a16:colId xmlns:a16="http://schemas.microsoft.com/office/drawing/2014/main" val="310395072"/>
                    </a:ext>
                  </a:extLst>
                </a:gridCol>
                <a:gridCol w="932267">
                  <a:extLst>
                    <a:ext uri="{9D8B030D-6E8A-4147-A177-3AD203B41FA5}">
                      <a16:colId xmlns:a16="http://schemas.microsoft.com/office/drawing/2014/main" val="3260695282"/>
                    </a:ext>
                  </a:extLst>
                </a:gridCol>
                <a:gridCol w="932267">
                  <a:extLst>
                    <a:ext uri="{9D8B030D-6E8A-4147-A177-3AD203B41FA5}">
                      <a16:colId xmlns:a16="http://schemas.microsoft.com/office/drawing/2014/main" val="1819053712"/>
                    </a:ext>
                  </a:extLst>
                </a:gridCol>
                <a:gridCol w="932267">
                  <a:extLst>
                    <a:ext uri="{9D8B030D-6E8A-4147-A177-3AD203B41FA5}">
                      <a16:colId xmlns:a16="http://schemas.microsoft.com/office/drawing/2014/main" val="639641908"/>
                    </a:ext>
                  </a:extLst>
                </a:gridCol>
                <a:gridCol w="932267">
                  <a:extLst>
                    <a:ext uri="{9D8B030D-6E8A-4147-A177-3AD203B41FA5}">
                      <a16:colId xmlns:a16="http://schemas.microsoft.com/office/drawing/2014/main" val="397287975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04946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Crema 0 - 5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72392917"/>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Canal Tradicional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6174604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009935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utrogen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J&amp;J Neutrogena Sunscreen Adults Derma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an</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0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9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9056553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39.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39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103923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Autos Scanning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726293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116358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auty Care Vs. Competition | Autos Scanning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auty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 Par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30 - 49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4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2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3.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989708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clips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 &amp; Skin Care Research: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Kid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6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50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No-Ad Sunscreen Adults Cosmetics Locion 30 - 49 89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3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9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189997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1693097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Autos Scanning | Sunscreen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hotoder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cean Po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30 - 49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Sport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Adult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un &amp; Skin Care Research Ocean Potion Sunscreen Kids Cosmetics Spray 50 15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3.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3.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0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8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5.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2649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075164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2630771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4688716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4857614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3262848"/>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3239359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67694853"/>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1446446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616303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0968556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00445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5169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7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25719515"/>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01892388"/>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Aeros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13086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18270780"/>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Emuls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6788807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6696926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5586330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Gel-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802025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4529185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8796537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Mous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09330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88349156"/>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4042461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7897730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2842601"/>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1727690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2004650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Aeros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4959961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0508542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595496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9383884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Gel-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181940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7.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4078911"/>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84227991"/>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74322376"/>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Mous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5348104"/>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4037115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0050040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048432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19109421"/>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19230029"/>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3539487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91410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3720655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91614726"/>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Gel-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2305488"/>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0795600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87191396"/>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Mous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9207567"/>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13870246"/>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1743071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351306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25679652"/>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205590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3211438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6078096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4582340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30899415"/>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6163756"/>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63455120"/>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05256973"/>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09444444"/>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Aceit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0276179"/>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Aeros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38154770"/>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60545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4406860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67561341"/>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8369381"/>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Gel-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14857198"/>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4456492"/>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1924199"/>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Roll-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94791947"/>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eru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7557880"/>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5131460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ti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65278746"/>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62103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5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8298864"/>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0226256"/>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7353660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18729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Sun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84998489"/>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8801116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0765400"/>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878097"/>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87595629"/>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417276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56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8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5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6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75794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97979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eauty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5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4968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Sunscreen Adults Cosmetics Spray Liquido 30 - 49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62122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8.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83836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13581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Sunscreen Adults Cosmetics Spray Liquido 30 - 49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34098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38892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49118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6.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41372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08323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52530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75400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1910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050755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44.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59.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8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80381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0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4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31534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61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7469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0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01.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623005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5.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1.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57121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5.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40946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Carrot Sunscreen Adults Cosmetics Spray Liquido 30 - 49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7.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44289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1.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63716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Hawaiian Tropic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5.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9.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2990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1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0.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2033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Hawaiian Tropic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Sunscreen Adults Cosmetics Spray Liquido 15 - 19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1.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26096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8.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54142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7.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3.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002197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loqueador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by Sunscreen Baby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Kid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4.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99098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anana Boat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1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5.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62787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7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64372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453.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4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23.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0.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5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49406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56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8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5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6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86773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2.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98184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auty Care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Sensitive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Matte Sunscreen Adults Cosmetics Liquido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eauty Care Antioxidant Sunscreen Adults Cosmetics Liquido 15 - 19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5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9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4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2.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33913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6.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8380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6.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1.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5.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302727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736342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67009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1527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57211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1.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44777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5.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81412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78898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Crema 0 - 5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777394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15548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6.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2.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48027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8.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5.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258677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656746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927933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Baby Sunscreen Baby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869084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3.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5.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397059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5.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1.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2.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7.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5.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9.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729640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15.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0.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6.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408113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Tanning Acei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84.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3.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6.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03578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G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Sport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Liquido 30 - 49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Crema 0 - 5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6.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4.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031950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iqui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Cre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 Loc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9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Spray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ilk Hydration Sunscreen Adults Cosmetics Liquido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4.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4.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589803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Nat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00605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fter Su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Spray Liquido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Crema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Crema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0.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0.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927185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Canal Modern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21397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Convenience + Farmacias Cad + Hard Discounte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fter Sun After Sun Adults Cosmetics Gel 0 - 5 2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Crema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9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2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8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307602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730765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Autos Scanning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Banded Pack Sunscreen + O.O.S Multi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6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84.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06885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542.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05641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4.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5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969533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onvenience + Farmacias Cad + Hard Discounters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Crema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9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2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8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8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5.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2.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8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31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0.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9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7440662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Tradicional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Crema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Crema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5.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6.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9.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5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5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8.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501762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Autos Scanning | Sunscre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oreal Paris Sunscreen Adults Derma Liq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Garnier Sunscreen Adults Cosmetics Serum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9.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23.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3.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6.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0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85.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65.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053798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Spray Aceite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Aceite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Spray Aceite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9.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4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1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0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5445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un Care | Banana Boat | Canal Tradicion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unscree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Gentle Protect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3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489441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61.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3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0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0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1.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3929080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Emuls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Mineral Sunscreen Adults Cosmetics Emulsion 30 - 49 3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Emulsion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46194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28.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30.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56.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7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2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5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9307946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Liq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zono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Liquido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4.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7.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44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9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8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0.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82252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Loc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laxosmithkli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Kid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Cosmetics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Mineral Sunscreen Adults Sport Locion 50 18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Kid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6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laxosmithkline Eclipsol Sunscreen Adults Derma Locion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6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43.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34.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695173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Roll-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Ultra Sunscreen Adults Sport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Kids Sport Sunscreen Kids Cosmetics Roll-On 6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9692009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Spra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oderm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Dry Balance Sunscreen Adults Cosmetics Spray 50+ 3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3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30 - 4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Kids Derma Spray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Sport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Adults Cosmetics Spray 15 - 19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Sunscreen Kids Cosmetics Spray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oderma Photoderm Sunscreen Adults Derma Spray 50+ 4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4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8.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5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38.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69.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03.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3.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8.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4.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1251941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Aceit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Tanning Sunscreen Adults Cosmetics Aceite 15 - 1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Spray Aceite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Vich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Aceite 30 - 49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Derma Spray Aceite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Adults Cosmetics Spray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Sunscreen Kids Derma Spray Aceite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4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5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8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99.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3.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8.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27179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Crem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Other Sunscreen Adults Cosmetics Crema 50+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Sport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qua Protect Sunscreen Adults Cosmetics Crema 50+ 236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50 1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Sheer Touch Sunscreen Adults Cosmetics Crema 30 - 49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7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7.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0.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14.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0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7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7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7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191843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Canal Moderno | Sunscreen Fluido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ierre Fab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Ore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Advanced Protection Sunscreen Adults Cosmetics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ierre Fabre Avene Sunscreen Adults Derma Fluido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Kid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97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5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32.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30.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13.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46.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54329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28056</Words>
  <Application>Microsoft Office PowerPoint</Application>
  <PresentationFormat>On-screen Show (16:9)</PresentationFormat>
  <Paragraphs>12466</Paragraphs>
  <Slides>26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8</vt:i4>
      </vt:variant>
    </vt:vector>
  </HeadingPairs>
  <TitlesOfParts>
    <vt:vector size="277"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1T13:0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